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
  </p:notesMasterIdLst>
  <p:sldIdLst>
    <p:sldId id="256" r:id="rId5"/>
    <p:sldId id="257" r:id="rId6"/>
    <p:sldId id="258" r:id="rId7"/>
  </p:sldIdLst>
  <p:sldSz cx="10691813" cy="7559675"/>
  <p:notesSz cx="6858000" cy="9144000"/>
  <p:custDataLst>
    <p:tags r:id="rId9"/>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738F1C-A413-E01A-F0B5-F57097FC5C94}" name="Alannah Tran" initials="AT" userId="S::Alannah.Tran@nousgroup.com.au::ca071bd6-a585-4695-914d-bc8a7ace88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D7D"/>
    <a:srgbClr val="7F0D82"/>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27D876-FE38-4D1A-902A-448C48653C2F}" v="4" dt="2023-07-31T01:21:30.8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46" autoAdjust="0"/>
    <p:restoredTop sz="96327" autoAdjust="0"/>
  </p:normalViewPr>
  <p:slideViewPr>
    <p:cSldViewPr snapToGrid="0">
      <p:cViewPr varScale="1">
        <p:scale>
          <a:sx n="109" d="100"/>
          <a:sy n="109" d="100"/>
        </p:scale>
        <p:origin x="2549" y="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3227D876-FE38-4D1A-902A-448C48653C2F}"/>
    <pc:docChg chg="modSld">
      <pc:chgData name="Alannah Tran" userId="ca071bd6-a585-4695-914d-bc8a7ace8862" providerId="ADAL" clId="{3227D876-FE38-4D1A-902A-448C48653C2F}" dt="2023-07-31T01:21:41.513" v="6" actId="207"/>
      <pc:docMkLst>
        <pc:docMk/>
      </pc:docMkLst>
      <pc:sldChg chg="modSp mod">
        <pc:chgData name="Alannah Tran" userId="ca071bd6-a585-4695-914d-bc8a7ace8862" providerId="ADAL" clId="{3227D876-FE38-4D1A-902A-448C48653C2F}" dt="2023-07-31T01:20:51.568" v="1"/>
        <pc:sldMkLst>
          <pc:docMk/>
          <pc:sldMk cId="179364010" sldId="256"/>
        </pc:sldMkLst>
        <pc:graphicFrameChg chg="mod modVis">
          <ac:chgData name="Alannah Tran" userId="ca071bd6-a585-4695-914d-bc8a7ace8862" providerId="ADAL" clId="{3227D876-FE38-4D1A-902A-448C48653C2F}" dt="2023-07-31T01:20:51.568" v="1"/>
          <ac:graphicFrameMkLst>
            <pc:docMk/>
            <pc:sldMk cId="179364010" sldId="256"/>
            <ac:graphicFrameMk id="12" creationId="{996997C0-ABCC-BBF3-12AD-0C7AC342FC67}"/>
          </ac:graphicFrameMkLst>
        </pc:graphicFrameChg>
      </pc:sldChg>
      <pc:sldChg chg="modSp mod">
        <pc:chgData name="Alannah Tran" userId="ca071bd6-a585-4695-914d-bc8a7ace8862" providerId="ADAL" clId="{3227D876-FE38-4D1A-902A-448C48653C2F}" dt="2023-07-31T01:21:41.513" v="6" actId="207"/>
        <pc:sldMkLst>
          <pc:docMk/>
          <pc:sldMk cId="2268719410" sldId="257"/>
        </pc:sldMkLst>
        <pc:spChg chg="mod">
          <ac:chgData name="Alannah Tran" userId="ca071bd6-a585-4695-914d-bc8a7ace8862" providerId="ADAL" clId="{3227D876-FE38-4D1A-902A-448C48653C2F}" dt="2023-07-31T01:21:41.513" v="6" actId="207"/>
          <ac:spMkLst>
            <pc:docMk/>
            <pc:sldMk cId="2268719410" sldId="257"/>
            <ac:spMk id="20" creationId="{15C085FE-1BEE-88DB-4744-754A0530A9C4}"/>
          </ac:spMkLst>
        </pc:spChg>
        <pc:graphicFrameChg chg="mod modVis">
          <ac:chgData name="Alannah Tran" userId="ca071bd6-a585-4695-914d-bc8a7ace8862" providerId="ADAL" clId="{3227D876-FE38-4D1A-902A-448C48653C2F}" dt="2023-07-31T01:21:11.582" v="3"/>
          <ac:graphicFrameMkLst>
            <pc:docMk/>
            <pc:sldMk cId="2268719410" sldId="257"/>
            <ac:graphicFrameMk id="12" creationId="{996997C0-ABCC-BBF3-12AD-0C7AC342FC67}"/>
          </ac:graphicFrameMkLst>
        </pc:graphicFrameChg>
      </pc:sldChg>
      <pc:sldChg chg="modSp mod">
        <pc:chgData name="Alannah Tran" userId="ca071bd6-a585-4695-914d-bc8a7ace8862" providerId="ADAL" clId="{3227D876-FE38-4D1A-902A-448C48653C2F}" dt="2023-07-31T01:21:12.344" v="5"/>
        <pc:sldMkLst>
          <pc:docMk/>
          <pc:sldMk cId="409238766" sldId="258"/>
        </pc:sldMkLst>
        <pc:graphicFrameChg chg="mod modVis">
          <ac:chgData name="Alannah Tran" userId="ca071bd6-a585-4695-914d-bc8a7ace8862" providerId="ADAL" clId="{3227D876-FE38-4D1A-902A-448C48653C2F}" dt="2023-07-31T01:21:12.344" v="5"/>
          <ac:graphicFrameMkLst>
            <pc:docMk/>
            <pc:sldMk cId="409238766" sldId="258"/>
            <ac:graphicFrameMk id="12" creationId="{996997C0-ABCC-BBF3-12AD-0C7AC342FC67}"/>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1247775" y="1143000"/>
            <a:ext cx="436245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mn-lt"/>
        <a:ea typeface="+mn-ea"/>
        <a:cs typeface="+mn-cs"/>
      </a:defRPr>
    </a:lvl1pPr>
    <a:lvl2pPr marL="521437" algn="l" defTabSz="1042873" rtl="0" eaLnBrk="1" latinLnBrk="0" hangingPunct="1">
      <a:defRPr sz="1369" kern="1200">
        <a:solidFill>
          <a:schemeClr val="tx1"/>
        </a:solidFill>
        <a:latin typeface="+mn-lt"/>
        <a:ea typeface="+mn-ea"/>
        <a:cs typeface="+mn-cs"/>
      </a:defRPr>
    </a:lvl2pPr>
    <a:lvl3pPr marL="1042873" algn="l" defTabSz="1042873" rtl="0" eaLnBrk="1" latinLnBrk="0" hangingPunct="1">
      <a:defRPr sz="1369" kern="1200">
        <a:solidFill>
          <a:schemeClr val="tx1"/>
        </a:solidFill>
        <a:latin typeface="+mn-lt"/>
        <a:ea typeface="+mn-ea"/>
        <a:cs typeface="+mn-cs"/>
      </a:defRPr>
    </a:lvl3pPr>
    <a:lvl4pPr marL="1564310" algn="l" defTabSz="1042873" rtl="0" eaLnBrk="1" latinLnBrk="0" hangingPunct="1">
      <a:defRPr sz="1369" kern="1200">
        <a:solidFill>
          <a:schemeClr val="tx1"/>
        </a:solidFill>
        <a:latin typeface="+mn-lt"/>
        <a:ea typeface="+mn-ea"/>
        <a:cs typeface="+mn-cs"/>
      </a:defRPr>
    </a:lvl4pPr>
    <a:lvl5pPr marL="2085746" algn="l" defTabSz="1042873" rtl="0" eaLnBrk="1" latinLnBrk="0" hangingPunct="1">
      <a:defRPr sz="1369" kern="1200">
        <a:solidFill>
          <a:schemeClr val="tx1"/>
        </a:solidFill>
        <a:latin typeface="+mn-lt"/>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8F1505-58BD-8D89-BAFD-46D28C627B36}"/>
              </a:ext>
            </a:extLst>
          </p:cNvPr>
          <p:cNvGraphicFramePr>
            <a:graphicFrameLocks noChangeAspect="1"/>
          </p:cNvGraphicFramePr>
          <p:nvPr userDrawn="1">
            <p:custDataLst>
              <p:tags r:id="rId1"/>
            </p:custDataLst>
            <p:extLst>
              <p:ext uri="{D42A27DB-BD31-4B8C-83A1-F6EECF244321}">
                <p14:modId xmlns:p14="http://schemas.microsoft.com/office/powerpoint/2010/main" val="391640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Object 1" hidden="1">
                        <a:extLst>
                          <a:ext uri="{FF2B5EF4-FFF2-40B4-BE49-F238E27FC236}">
                            <a16:creationId xmlns:a16="http://schemas.microsoft.com/office/drawing/2014/main" id="{068F1505-58BD-8D89-BAFD-46D28C627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Free-form: Shape 50">
            <a:extLst>
              <a:ext uri="{FF2B5EF4-FFF2-40B4-BE49-F238E27FC236}">
                <a16:creationId xmlns:a16="http://schemas.microsoft.com/office/drawing/2014/main" id="{15537C9B-4C25-A668-540C-915BC5DCFBDF}"/>
              </a:ext>
            </a:extLst>
          </p:cNvPr>
          <p:cNvSpPr/>
          <p:nvPr userDrawn="1"/>
        </p:nvSpPr>
        <p:spPr>
          <a:xfrm>
            <a:off x="0" y="2461966"/>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2263">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07087" y="997347"/>
            <a:ext cx="1961508" cy="567943"/>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5418083" y="4372"/>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6017270" y="2466725"/>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4820678" y="2466725"/>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7467941" y="5342481"/>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2263"/>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2" name="Free-form: Shape 51">
            <a:extLst>
              <a:ext uri="{FF2B5EF4-FFF2-40B4-BE49-F238E27FC236}">
                <a16:creationId xmlns:a16="http://schemas.microsoft.com/office/drawing/2014/main" id="{E1058DF6-0B4D-4561-F410-CF4A6EC5587F}"/>
              </a:ext>
            </a:extLst>
          </p:cNvPr>
          <p:cNvSpPr/>
          <p:nvPr/>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2263"/>
          </a:p>
        </p:txBody>
      </p:sp>
      <p:sp>
        <p:nvSpPr>
          <p:cNvPr id="46" name="Free-form: Shape 45">
            <a:extLst>
              <a:ext uri="{FF2B5EF4-FFF2-40B4-BE49-F238E27FC236}">
                <a16:creationId xmlns:a16="http://schemas.microsoft.com/office/drawing/2014/main" id="{83821572-8A3F-6B76-EC63-FFFF39B4D8E2}"/>
              </a:ext>
            </a:extLst>
          </p:cNvPr>
          <p:cNvSpPr/>
          <p:nvPr/>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48" name="Free-form: Shape 47">
            <a:extLst>
              <a:ext uri="{FF2B5EF4-FFF2-40B4-BE49-F238E27FC236}">
                <a16:creationId xmlns:a16="http://schemas.microsoft.com/office/drawing/2014/main" id="{7147DF2A-84C9-29DC-6E61-6969EC837D59}"/>
              </a:ext>
            </a:extLst>
          </p:cNvPr>
          <p:cNvSpPr/>
          <p:nvPr/>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55" name="Free-form: Shape 54">
            <a:extLst>
              <a:ext uri="{FF2B5EF4-FFF2-40B4-BE49-F238E27FC236}">
                <a16:creationId xmlns:a16="http://schemas.microsoft.com/office/drawing/2014/main" id="{BD8D172D-4A33-0DD4-E56D-113639EAFAE9}"/>
              </a:ext>
            </a:extLst>
          </p:cNvPr>
          <p:cNvSpPr/>
          <p:nvPr/>
        </p:nvSpPr>
        <p:spPr>
          <a:xfrm>
            <a:off x="375554" y="6857741"/>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56" name="Free-form: Shape 55">
            <a:extLst>
              <a:ext uri="{FF2B5EF4-FFF2-40B4-BE49-F238E27FC236}">
                <a16:creationId xmlns:a16="http://schemas.microsoft.com/office/drawing/2014/main" id="{4E22A3CD-7A86-3297-24D4-607873FB419F}"/>
              </a:ext>
            </a:extLst>
          </p:cNvPr>
          <p:cNvSpPr/>
          <p:nvPr/>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endParaRPr lang="en-GB" dirty="0"/>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1" y="693805"/>
            <a:ext cx="10688401" cy="6164075"/>
          </a:xfrm>
          <a:prstGeom prst="rect">
            <a:avLst/>
          </a:prstGeom>
          <a:solidFill>
            <a:schemeClr val="bg1">
              <a:lumMod val="75000"/>
            </a:schemeClr>
          </a:solidFill>
        </p:spPr>
        <p:txBody>
          <a:bodyPr wrap="square" lIns="684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1" y="693804"/>
            <a:ext cx="7033137" cy="616337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3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855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dirty="0"/>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endParaRPr lang="en-GB" dirty="0"/>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077151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6" name="Free-form: Shape 5">
            <a:extLst>
              <a:ext uri="{FF2B5EF4-FFF2-40B4-BE49-F238E27FC236}">
                <a16:creationId xmlns:a16="http://schemas.microsoft.com/office/drawing/2014/main" id="{61B08C00-0226-56F5-FDD7-5FA0EF3DB3D2}"/>
              </a:ext>
            </a:extLst>
          </p:cNvPr>
          <p:cNvSpPr/>
          <p:nvPr/>
        </p:nvSpPr>
        <p:spPr>
          <a:xfrm>
            <a:off x="1" y="2462353"/>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2263">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6017272" y="2462353"/>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4820679" y="2462353"/>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10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38" name="Free-form: Shape 37">
            <a:extLst>
              <a:ext uri="{FF2B5EF4-FFF2-40B4-BE49-F238E27FC236}">
                <a16:creationId xmlns:a16="http://schemas.microsoft.com/office/drawing/2014/main" id="{2DCABD5A-B67F-F174-BA18-01F969DC1B68}"/>
              </a:ext>
            </a:extLst>
          </p:cNvPr>
          <p:cNvSpPr/>
          <p:nvPr/>
        </p:nvSpPr>
        <p:spPr>
          <a:xfrm>
            <a:off x="4814261" y="2462353"/>
            <a:ext cx="5877551" cy="4400883"/>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2263"/>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2" y="2462353"/>
            <a:ext cx="8234781" cy="4400617"/>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4820679" y="2462353"/>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5418084" y="2462353"/>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6016052" y="2462353"/>
            <a:ext cx="1203008" cy="1198437"/>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2263"/>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endParaRPr lang="en-GB" dirty="0"/>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2461966"/>
            <a:ext cx="10700397" cy="4400882"/>
          </a:xfrm>
          <a:prstGeom prst="rect">
            <a:avLst/>
          </a:prstGeom>
          <a:solidFill>
            <a:schemeClr val="bg1">
              <a:lumMod val="75000"/>
            </a:schemeClr>
          </a:solidFill>
        </p:spPr>
        <p:txBody>
          <a:bodyPr wrap="square" lIns="504000" tIns="288000" rIns="576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endParaRPr lang="en-GB" dirty="0"/>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6016052" y="2461966"/>
            <a:ext cx="1203008" cy="1198437"/>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4820679" y="2461966"/>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5418084" y="2461966"/>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F60952-EFEB-073A-2890-058D4ABDFEC4}"/>
              </a:ext>
            </a:extLst>
          </p:cNvPr>
          <p:cNvGraphicFramePr>
            <a:graphicFrameLocks noChangeAspect="1"/>
          </p:cNvGraphicFramePr>
          <p:nvPr userDrawn="1">
            <p:custDataLst>
              <p:tags r:id="rId1"/>
            </p:custDataLst>
            <p:extLst>
              <p:ext uri="{D42A27DB-BD31-4B8C-83A1-F6EECF244321}">
                <p14:modId xmlns:p14="http://schemas.microsoft.com/office/powerpoint/2010/main" val="223789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1EF60952-EFEB-073A-2890-058D4ABDFE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012413"/>
            <a:ext cx="8208282" cy="4365167"/>
          </a:xfrm>
        </p:spPr>
        <p:txBody>
          <a:bodyPr/>
          <a:lstStyle>
            <a:lvl1pPr>
              <a:defRPr/>
            </a:lvl1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568001" y="2012413"/>
            <a:ext cx="3788438" cy="4365167"/>
          </a:xfrm>
        </p:spPr>
        <p:txBody>
          <a:bodyPr/>
          <a:lstStyle>
            <a:lvl1pPr>
              <a:defRPr/>
            </a:lvl1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987845" y="2012413"/>
            <a:ext cx="3788438"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31/07/2023</a:t>
            </a:fld>
            <a:endParaRPr lang="en-GB" dirty="0"/>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endParaRPr lang="en-GB" dirty="0"/>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607662"/>
            <a:ext cx="8208282" cy="3769917"/>
          </a:xfrm>
        </p:spPr>
        <p:txBody>
          <a:bodyPr/>
          <a:lstStyle>
            <a:lvl1pPr>
              <a:defRPr/>
            </a:lvl1pPr>
          </a:lstStyle>
          <a:p>
            <a:pPr lvl="0"/>
            <a:r>
              <a:rPr lang="en-GB" dirty="0"/>
              <a:t>Select one of the central icons to add a table, chart, SmartArt, image or media</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dirty="0"/>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568001" y="1805399"/>
            <a:ext cx="8208282" cy="595250"/>
          </a:xfrm>
        </p:spPr>
        <p:txBody>
          <a:bodyPr/>
          <a:lstStyle>
            <a:lvl1pPr>
              <a:defRPr/>
            </a:lvl1pPr>
          </a:lstStyle>
          <a:p>
            <a:pPr lvl="0"/>
            <a:r>
              <a:rPr lang="en-GB" dirty="0"/>
              <a:t>Click to add text</a:t>
            </a:r>
            <a:endParaRPr lang="en-AU" dirty="0"/>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568000" y="2012413"/>
            <a:ext cx="6945469"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0" y="423804"/>
            <a:ext cx="6945469" cy="793667"/>
          </a:xfrm>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9399417" y="4302722"/>
            <a:ext cx="1286018" cy="2559928"/>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dirty="0"/>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endParaRPr lang="en-GB" dirty="0"/>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1580922"/>
            <a:ext cx="10691813" cy="5271343"/>
          </a:xfrm>
          <a:prstGeom prst="rect">
            <a:avLst/>
          </a:prstGeom>
          <a:solidFill>
            <a:schemeClr val="bg1">
              <a:lumMod val="75000"/>
            </a:schemeClr>
          </a:solidFill>
        </p:spPr>
        <p:txBody>
          <a:bodyPr wrap="square" lIns="648000" tIns="288000" rIns="432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1" y="423804"/>
            <a:ext cx="4419844" cy="793667"/>
          </a:xfrm>
        </p:spPr>
        <p:txBody>
          <a:bodyPr/>
          <a:lstStyle/>
          <a:p>
            <a:r>
              <a:rPr lang="en-US"/>
              <a:t>Click to edit Master title style</a:t>
            </a:r>
            <a:endParaRPr lang="en-AU" dirty="0"/>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31/07/2023</a:t>
            </a:fld>
            <a:endParaRPr lang="en-GB" dirty="0"/>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D34C0-2B69-0CD4-3E46-603BBC6C59EF}"/>
              </a:ext>
            </a:extLst>
          </p:cNvPr>
          <p:cNvGraphicFramePr>
            <a:graphicFrameLocks noChangeAspect="1"/>
          </p:cNvGraphicFramePr>
          <p:nvPr userDrawn="1">
            <p:custDataLst>
              <p:tags r:id="rId18"/>
            </p:custDataLst>
            <p:extLst>
              <p:ext uri="{D42A27DB-BD31-4B8C-83A1-F6EECF244321}">
                <p14:modId xmlns:p14="http://schemas.microsoft.com/office/powerpoint/2010/main" val="1000056736"/>
              </p:ext>
            </p:extLst>
          </p:nvPr>
        </p:nvGraphicFramePr>
        <p:xfrm>
          <a:off x="1857" y="1751"/>
          <a:ext cx="1857" cy="1750"/>
        </p:xfrm>
        <a:graphic>
          <a:graphicData uri="http://schemas.openxmlformats.org/presentationml/2006/ole">
            <mc:AlternateContent xmlns:mc="http://schemas.openxmlformats.org/markup-compatibility/2006">
              <mc:Choice xmlns:v="urn:schemas-microsoft-com:vml" Requires="v">
                <p:oleObj name="think-cell Slide" r:id="rId19" imgW="328" imgH="328" progId="TCLayout.ActiveDocument.1">
                  <p:embed/>
                </p:oleObj>
              </mc:Choice>
              <mc:Fallback>
                <p:oleObj name="think-cell Slide" r:id="rId19" imgW="328" imgH="328" progId="TCLayout.ActiveDocument.1">
                  <p:embed/>
                  <p:pic>
                    <p:nvPicPr>
                      <p:cNvPr id="9" name="Object 8" hidden="1">
                        <a:extLst>
                          <a:ext uri="{FF2B5EF4-FFF2-40B4-BE49-F238E27FC236}">
                            <a16:creationId xmlns:a16="http://schemas.microsoft.com/office/drawing/2014/main" id="{67AD34C0-2B69-0CD4-3E46-603BBC6C59EF}"/>
                          </a:ext>
                        </a:extLst>
                      </p:cNvPr>
                      <p:cNvPicPr/>
                      <p:nvPr/>
                    </p:nvPicPr>
                    <p:blipFill>
                      <a:blip r:embed="rId20"/>
                      <a:stretch>
                        <a:fillRect/>
                      </a:stretch>
                    </p:blipFill>
                    <p:spPr>
                      <a:xfrm>
                        <a:off x="1857" y="1751"/>
                        <a:ext cx="1857" cy="1750"/>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10691813" cy="1587333"/>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1984"/>
          </a:p>
        </p:txBody>
      </p:sp>
      <p:grpSp>
        <p:nvGrpSpPr>
          <p:cNvPr id="11" name="Group 10">
            <a:extLst>
              <a:ext uri="{FF2B5EF4-FFF2-40B4-BE49-F238E27FC236}">
                <a16:creationId xmlns:a16="http://schemas.microsoft.com/office/drawing/2014/main" id="{C0F69CC5-725A-DC9C-EE57-E4195036E597}"/>
              </a:ext>
            </a:extLst>
          </p:cNvPr>
          <p:cNvGrpSpPr/>
          <p:nvPr userDrawn="1"/>
        </p:nvGrpSpPr>
        <p:grpSpPr>
          <a:xfrm>
            <a:off x="8321427" y="0"/>
            <a:ext cx="2370387" cy="1587333"/>
            <a:chOff x="7792497" y="1"/>
            <a:chExt cx="1351502" cy="1269998"/>
          </a:xfrm>
        </p:grpSpPr>
        <p:sp>
          <p:nvSpPr>
            <p:cNvPr id="39" name="Free-form: Shape 38">
              <a:extLst>
                <a:ext uri="{FF2B5EF4-FFF2-40B4-BE49-F238E27FC236}">
                  <a16:creationId xmlns:a16="http://schemas.microsoft.com/office/drawing/2014/main" id="{ACD74EFB-1EB2-C902-2EB7-7A5AC47A3130}"/>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984"/>
            </a:p>
          </p:txBody>
        </p:sp>
        <p:sp>
          <p:nvSpPr>
            <p:cNvPr id="40" name="Free-form: Shape 39">
              <a:extLst>
                <a:ext uri="{FF2B5EF4-FFF2-40B4-BE49-F238E27FC236}">
                  <a16:creationId xmlns:a16="http://schemas.microsoft.com/office/drawing/2014/main" id="{E7241B76-7122-AE56-0EFB-6DFFD069ADBB}"/>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984"/>
            </a:p>
          </p:txBody>
        </p:sp>
        <p:sp>
          <p:nvSpPr>
            <p:cNvPr id="41" name="Free-form: Shape 40">
              <a:extLst>
                <a:ext uri="{FF2B5EF4-FFF2-40B4-BE49-F238E27FC236}">
                  <a16:creationId xmlns:a16="http://schemas.microsoft.com/office/drawing/2014/main" id="{1AB8811A-2AF9-3D1A-7290-BC7B6EA26CFE}"/>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984"/>
            </a:p>
          </p:txBody>
        </p:sp>
        <p:sp>
          <p:nvSpPr>
            <p:cNvPr id="42" name="Free-form: Shape 41">
              <a:extLst>
                <a:ext uri="{FF2B5EF4-FFF2-40B4-BE49-F238E27FC236}">
                  <a16:creationId xmlns:a16="http://schemas.microsoft.com/office/drawing/2014/main" id="{F88C237B-3642-81D4-58BC-F75C7525747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984"/>
            </a:p>
          </p:txBody>
        </p:sp>
      </p:grpSp>
      <p:sp>
        <p:nvSpPr>
          <p:cNvPr id="4" name="Date Placeholder 3"/>
          <p:cNvSpPr>
            <a:spLocks noGrp="1"/>
          </p:cNvSpPr>
          <p:nvPr>
            <p:ph type="dt" sz="half" idx="2"/>
          </p:nvPr>
        </p:nvSpPr>
        <p:spPr>
          <a:xfrm>
            <a:off x="6509982" y="7004053"/>
            <a:ext cx="2266302" cy="396833"/>
          </a:xfrm>
          <a:prstGeom prst="rect">
            <a:avLst/>
          </a:prstGeom>
        </p:spPr>
        <p:txBody>
          <a:bodyPr vert="horz" lIns="0" tIns="0" rIns="0" bIns="0" rtlCol="0" anchor="ctr"/>
          <a:lstStyle>
            <a:lvl1pPr algn="r">
              <a:defRPr sz="1102">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568002" y="423804"/>
            <a:ext cx="7576875" cy="793667"/>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568000" y="2012413"/>
            <a:ext cx="9429000" cy="436516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568001"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a:t>Page </a:t>
            </a:r>
            <a:fld id="{F5AEA0E0-5CC6-4BD0-905C-A0021E419432}" type="slidenum">
              <a:rPr lang="en-GB" smtClean="0"/>
              <a:pPr/>
              <a:t>‹#›</a:t>
            </a:fld>
            <a:endParaRPr lang="en-GB" dirty="0"/>
          </a:p>
        </p:txBody>
      </p:sp>
      <p:sp>
        <p:nvSpPr>
          <p:cNvPr id="7" name="MSIPCMContentMarking" descr="{&quot;HashCode&quot;:-1264680268,&quot;Placement&quot;:&quot;Footer&quot;,&quot;Top&quot;:516.65155,&quot;Left&quot;:326.046448,&quot;SlideWidth&quot;:720,&quot;SlideHeight&quot;:540}">
            <a:extLst>
              <a:ext uri="{FF2B5EF4-FFF2-40B4-BE49-F238E27FC236}">
                <a16:creationId xmlns:a16="http://schemas.microsoft.com/office/drawing/2014/main" id="{C1CB3AF3-4B80-E700-28DB-DCCFCACEA543}"/>
              </a:ext>
            </a:extLst>
          </p:cNvPr>
          <p:cNvSpPr txBox="1"/>
          <p:nvPr userDrawn="1"/>
        </p:nvSpPr>
        <p:spPr>
          <a:xfrm>
            <a:off x="4841706" y="7294451"/>
            <a:ext cx="1008401" cy="203582"/>
          </a:xfrm>
          <a:prstGeom prst="rect">
            <a:avLst/>
          </a:prstGeom>
          <a:noFill/>
        </p:spPr>
        <p:txBody>
          <a:bodyPr vert="horz" wrap="square" lIns="0" tIns="0" rIns="0" bIns="0" rtlCol="0" anchor="ctr" anchorCtr="1">
            <a:spAutoFit/>
          </a:bodyPr>
          <a:lstStyle/>
          <a:p>
            <a:pPr algn="ctr">
              <a:spcBef>
                <a:spcPts val="0"/>
              </a:spcBef>
              <a:spcAft>
                <a:spcPts val="0"/>
              </a:spcAft>
            </a:pPr>
            <a:r>
              <a:rPr lang="en-AU" sz="1323">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89" r:id="rId12"/>
    <p:sldLayoutId id="2147483693" r:id="rId13"/>
    <p:sldLayoutId id="2147483690" r:id="rId14"/>
    <p:sldLayoutId id="2147483675" r:id="rId15"/>
    <p:sldLayoutId id="2147483655" r:id="rId16"/>
  </p:sldLayoutIdLst>
  <p:hf hdr="0" dt="0"/>
  <p:txStyles>
    <p:titleStyle>
      <a:lvl1pPr algn="l" defTabSz="1007943" rtl="0" eaLnBrk="1" latinLnBrk="0" hangingPunct="1">
        <a:lnSpc>
          <a:spcPct val="100000"/>
        </a:lnSpc>
        <a:spcBef>
          <a:spcPct val="0"/>
        </a:spcBef>
        <a:buNone/>
        <a:defRPr sz="2535" kern="1200">
          <a:solidFill>
            <a:schemeClr val="accent6"/>
          </a:solidFill>
          <a:latin typeface="+mj-lt"/>
          <a:ea typeface="+mj-ea"/>
          <a:cs typeface="+mj-cs"/>
        </a:defRPr>
      </a:lvl1pPr>
    </p:titleStyle>
    <p:bodyStyle>
      <a:lvl1pPr marL="0" indent="0" algn="l" defTabSz="1007943" rtl="0" eaLnBrk="1" latinLnBrk="0" hangingPunct="1">
        <a:lnSpc>
          <a:spcPct val="100000"/>
        </a:lnSpc>
        <a:spcBef>
          <a:spcPts val="661"/>
        </a:spcBef>
        <a:buFont typeface="Arial" panose="020B0604020202020204" pitchFamily="34" charset="0"/>
        <a:buNone/>
        <a:defRPr sz="1984" b="1" kern="1200">
          <a:solidFill>
            <a:schemeClr val="accent6"/>
          </a:solidFill>
          <a:latin typeface="+mn-lt"/>
          <a:ea typeface="+mn-ea"/>
          <a:cs typeface="+mn-cs"/>
        </a:defRPr>
      </a:lvl1pPr>
      <a:lvl2pPr marL="0" indent="0" algn="l" defTabSz="1007943" rtl="0" eaLnBrk="1" latinLnBrk="0" hangingPunct="1">
        <a:lnSpc>
          <a:spcPct val="100000"/>
        </a:lnSpc>
        <a:spcBef>
          <a:spcPts val="661"/>
        </a:spcBef>
        <a:buFont typeface="Arial" panose="020B0604020202020204" pitchFamily="34" charset="0"/>
        <a:buNone/>
        <a:defRPr sz="1984" kern="1200">
          <a:solidFill>
            <a:schemeClr val="accent6"/>
          </a:solidFill>
          <a:latin typeface="+mn-lt"/>
          <a:ea typeface="+mn-ea"/>
          <a:cs typeface="+mn-cs"/>
        </a:defRPr>
      </a:lvl2pPr>
      <a:lvl3pPr marL="198414" indent="-198414" algn="l" defTabSz="1007943" rtl="0" eaLnBrk="1" latinLnBrk="0" hangingPunct="1">
        <a:lnSpc>
          <a:spcPct val="100000"/>
        </a:lnSpc>
        <a:spcBef>
          <a:spcPts val="661"/>
        </a:spcBef>
        <a:buClr>
          <a:schemeClr val="accent3"/>
        </a:buClr>
        <a:buFont typeface="Arial" panose="020B0604020202020204" pitchFamily="34" charset="0"/>
        <a:buChar char="•"/>
        <a:defRPr sz="1984" kern="1200">
          <a:solidFill>
            <a:schemeClr val="accent6"/>
          </a:solidFill>
          <a:latin typeface="+mn-lt"/>
          <a:ea typeface="+mn-ea"/>
          <a:cs typeface="+mn-cs"/>
        </a:defRPr>
      </a:lvl3pPr>
      <a:lvl4pPr marL="396828" indent="-198414" algn="l" defTabSz="1007943" rtl="0" eaLnBrk="1" latinLnBrk="0" hangingPunct="1">
        <a:lnSpc>
          <a:spcPct val="100000"/>
        </a:lnSpc>
        <a:spcBef>
          <a:spcPts val="1323"/>
        </a:spcBef>
        <a:spcAft>
          <a:spcPts val="1323"/>
        </a:spcAft>
        <a:buClr>
          <a:schemeClr val="accent2"/>
        </a:buClr>
        <a:buFont typeface="Arial" panose="020B0604020202020204" pitchFamily="34" charset="0"/>
        <a:buChar char="•"/>
        <a:defRPr sz="1984" b="0" i="0" kern="1200">
          <a:solidFill>
            <a:schemeClr val="accent6"/>
          </a:solidFill>
          <a:latin typeface="+mn-lt"/>
          <a:ea typeface="+mn-ea"/>
          <a:cs typeface="+mn-cs"/>
        </a:defRPr>
      </a:lvl4pPr>
      <a:lvl5pPr marL="0" indent="0" algn="l" defTabSz="1007943" rtl="0" eaLnBrk="1" latinLnBrk="0" hangingPunct="1">
        <a:lnSpc>
          <a:spcPct val="100000"/>
        </a:lnSpc>
        <a:spcBef>
          <a:spcPts val="661"/>
        </a:spcBef>
        <a:buFont typeface="Arial" panose="020B0604020202020204" pitchFamily="34" charset="0"/>
        <a:buNone/>
        <a:defRPr sz="1543" b="1" kern="1200">
          <a:solidFill>
            <a:schemeClr val="accent6"/>
          </a:solidFill>
          <a:latin typeface="+mn-lt"/>
          <a:ea typeface="+mn-ea"/>
          <a:cs typeface="+mn-cs"/>
        </a:defRPr>
      </a:lvl5pPr>
      <a:lvl6pPr marL="0" indent="0" algn="l" defTabSz="1007943" rtl="0" eaLnBrk="1" latinLnBrk="0" hangingPunct="1">
        <a:lnSpc>
          <a:spcPct val="100000"/>
        </a:lnSpc>
        <a:spcBef>
          <a:spcPts val="661"/>
        </a:spcBef>
        <a:buFont typeface="Arial" panose="020B0604020202020204" pitchFamily="34" charset="0"/>
        <a:buNone/>
        <a:defRPr sz="1543" kern="1200">
          <a:solidFill>
            <a:schemeClr val="tx1"/>
          </a:solidFill>
          <a:latin typeface="+mn-lt"/>
          <a:ea typeface="+mn-ea"/>
          <a:cs typeface="+mn-cs"/>
        </a:defRPr>
      </a:lvl6pPr>
      <a:lvl7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7pPr>
      <a:lvl8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8pPr>
      <a:lvl9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6997C0-ABCC-BBF3-12AD-0C7AC342FC6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67433981"/>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12" name="Object 11" hidden="1">
                        <a:extLst>
                          <a:ext uri="{FF2B5EF4-FFF2-40B4-BE49-F238E27FC236}">
                            <a16:creationId xmlns:a16="http://schemas.microsoft.com/office/drawing/2014/main" id="{996997C0-ABCC-BBF3-12AD-0C7AC342FC67}"/>
                          </a:ext>
                          <a:ext uri="{C183D7F6-B498-43B3-948B-1728B52AA6E4}">
                            <adec:decorative xmlns:adec="http://schemas.microsoft.com/office/drawing/2017/decorative" val="1"/>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C23A05B-338A-E882-D37C-C09A4BEA8CED}"/>
              </a:ext>
            </a:extLst>
          </p:cNvPr>
          <p:cNvSpPr>
            <a:spLocks noGrp="1"/>
          </p:cNvSpPr>
          <p:nvPr>
            <p:ph type="title"/>
          </p:nvPr>
        </p:nvSpPr>
        <p:spPr/>
        <p:txBody>
          <a:bodyPr vert="horz"/>
          <a:lstStyle/>
          <a:p>
            <a:r>
              <a:rPr lang="en-AU" dirty="0"/>
              <a:t>Conditions Discharge Flow</a:t>
            </a:r>
          </a:p>
        </p:txBody>
      </p:sp>
      <p:sp>
        <p:nvSpPr>
          <p:cNvPr id="162" name="TextBox 161">
            <a:extLst>
              <a:ext uri="{FF2B5EF4-FFF2-40B4-BE49-F238E27FC236}">
                <a16:creationId xmlns:a16="http://schemas.microsoft.com/office/drawing/2014/main" id="{DF3F446E-0D33-9480-1AEE-7525C47D56ED}"/>
              </a:ext>
            </a:extLst>
          </p:cNvPr>
          <p:cNvSpPr txBox="1"/>
          <p:nvPr/>
        </p:nvSpPr>
        <p:spPr>
          <a:xfrm>
            <a:off x="100135" y="1748497"/>
            <a:ext cx="2132268" cy="1708160"/>
          </a:xfrm>
          <a:prstGeom prst="rect">
            <a:avLst/>
          </a:prstGeom>
          <a:noFill/>
        </p:spPr>
        <p:txBody>
          <a:bodyPr wrap="square" lIns="91440" tIns="45720" rIns="91440" bIns="45720" rtlCol="0" anchor="t">
            <a:spAutoFit/>
          </a:bodyPr>
          <a:lstStyle/>
          <a:p>
            <a:pPr>
              <a:spcBef>
                <a:spcPts val="600"/>
              </a:spcBef>
            </a:pPr>
            <a:r>
              <a:rPr lang="en-AU" sz="1000" dirty="0">
                <a:solidFill>
                  <a:schemeClr val="accent6"/>
                </a:solidFill>
              </a:rPr>
              <a:t>This </a:t>
            </a:r>
            <a:r>
              <a:rPr lang="en-AU" sz="1000" b="1" dirty="0">
                <a:solidFill>
                  <a:schemeClr val="accent6"/>
                </a:solidFill>
              </a:rPr>
              <a:t>Conditions Discharge Flow </a:t>
            </a:r>
            <a:r>
              <a:rPr lang="en-AU" sz="1000" dirty="0">
                <a:solidFill>
                  <a:schemeClr val="accent6"/>
                </a:solidFill>
              </a:rPr>
              <a:t>has been designed as a visual representation of the front and back of house actions undertaken by applicants and planners as part of the conditions discharge process. </a:t>
            </a:r>
            <a:endParaRPr lang="en-AU" sz="1000" dirty="0">
              <a:solidFill>
                <a:schemeClr val="accent6"/>
              </a:solidFill>
              <a:cs typeface="Arial"/>
            </a:endParaRPr>
          </a:p>
          <a:p>
            <a:pPr>
              <a:spcBef>
                <a:spcPts val="600"/>
              </a:spcBef>
            </a:pPr>
            <a:r>
              <a:rPr lang="en-AU" sz="1000" dirty="0">
                <a:solidFill>
                  <a:schemeClr val="accent6"/>
                </a:solidFill>
              </a:rPr>
              <a:t>Primary target users of this service flow are the planning and business support teams at Council. </a:t>
            </a:r>
            <a:endParaRPr lang="en-AU" sz="1000" dirty="0">
              <a:solidFill>
                <a:schemeClr val="accent6"/>
              </a:solidFill>
              <a:cs typeface="Arial" panose="020B0604020202020204"/>
            </a:endParaRPr>
          </a:p>
        </p:txBody>
      </p:sp>
      <p:sp>
        <p:nvSpPr>
          <p:cNvPr id="280" name="TextBox 279">
            <a:extLst>
              <a:ext uri="{FF2B5EF4-FFF2-40B4-BE49-F238E27FC236}">
                <a16:creationId xmlns:a16="http://schemas.microsoft.com/office/drawing/2014/main" id="{BDBEE7EC-8F21-CA2D-5A17-DF514D16B508}"/>
              </a:ext>
            </a:extLst>
          </p:cNvPr>
          <p:cNvSpPr txBox="1"/>
          <p:nvPr/>
        </p:nvSpPr>
        <p:spPr>
          <a:xfrm>
            <a:off x="751318" y="3656726"/>
            <a:ext cx="857927" cy="261610"/>
          </a:xfrm>
          <a:prstGeom prst="rect">
            <a:avLst/>
          </a:prstGeom>
          <a:solidFill>
            <a:schemeClr val="bg1"/>
          </a:solidFill>
        </p:spPr>
        <p:txBody>
          <a:bodyPr wrap="none" rtlCol="0">
            <a:spAutoFit/>
          </a:bodyPr>
          <a:lstStyle/>
          <a:p>
            <a:pPr algn="l"/>
            <a:r>
              <a:rPr lang="en-AU" sz="1100" b="1" spc="0" baseline="0" dirty="0">
                <a:solidFill>
                  <a:srgbClr val="017D7D"/>
                </a:solidFill>
                <a:sym typeface="Overpass-SemiBold"/>
                <a:rtl val="0"/>
              </a:rPr>
              <a:t>Principles</a:t>
            </a:r>
          </a:p>
        </p:txBody>
      </p:sp>
      <p:sp>
        <p:nvSpPr>
          <p:cNvPr id="295" name="TextBox 124">
            <a:extLst>
              <a:ext uri="{FF2B5EF4-FFF2-40B4-BE49-F238E27FC236}">
                <a16:creationId xmlns:a16="http://schemas.microsoft.com/office/drawing/2014/main" id="{DCD6C0BE-0103-15B8-C241-EDC02EB63721}"/>
              </a:ext>
            </a:extLst>
          </p:cNvPr>
          <p:cNvSpPr txBox="1"/>
          <p:nvPr/>
        </p:nvSpPr>
        <p:spPr>
          <a:xfrm>
            <a:off x="407063" y="3952608"/>
            <a:ext cx="1825340" cy="553998"/>
          </a:xfrm>
          <a:prstGeom prst="rect">
            <a:avLst/>
          </a:prstGeom>
          <a:noFill/>
        </p:spPr>
        <p:txBody>
          <a:bodyPr wrap="square" lIns="91440" tIns="45720" rIns="91440" bIns="45720" rtlCol="0" anchor="t">
            <a:spAutoFit/>
          </a:bodyPr>
          <a:lstStyle/>
          <a:p>
            <a:pPr marL="60960">
              <a:spcBef>
                <a:spcPts val="600"/>
              </a:spcBef>
              <a:spcAft>
                <a:spcPts val="1200"/>
              </a:spcAft>
              <a:buClr>
                <a:srgbClr val="0070C0"/>
              </a:buClr>
            </a:pPr>
            <a:r>
              <a:rPr lang="en-AU" sz="1000" dirty="0">
                <a:solidFill>
                  <a:srgbClr val="017D7D"/>
                </a:solidFill>
                <a:cs typeface="Segoe UI Semilight"/>
              </a:rPr>
              <a:t>We only assess information relevant to discharging the condition/s</a:t>
            </a:r>
          </a:p>
        </p:txBody>
      </p:sp>
      <p:sp>
        <p:nvSpPr>
          <p:cNvPr id="284" name="TextBox 124">
            <a:extLst>
              <a:ext uri="{FF2B5EF4-FFF2-40B4-BE49-F238E27FC236}">
                <a16:creationId xmlns:a16="http://schemas.microsoft.com/office/drawing/2014/main" id="{CC8DB04D-9093-058F-BE3D-D2A475713371}"/>
              </a:ext>
            </a:extLst>
          </p:cNvPr>
          <p:cNvSpPr txBox="1"/>
          <p:nvPr/>
        </p:nvSpPr>
        <p:spPr>
          <a:xfrm>
            <a:off x="407063" y="4528401"/>
            <a:ext cx="1667199" cy="1169551"/>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commit to requesting missing information, or issuing a letter advising the submission was unsatisfactory (if required) as quickly as possible</a:t>
            </a:r>
          </a:p>
        </p:txBody>
      </p:sp>
      <p:sp>
        <p:nvSpPr>
          <p:cNvPr id="296" name="TextBox 124">
            <a:extLst>
              <a:ext uri="{FF2B5EF4-FFF2-40B4-BE49-F238E27FC236}">
                <a16:creationId xmlns:a16="http://schemas.microsoft.com/office/drawing/2014/main" id="{D133FD49-403D-E3C9-333A-F7343BC673AF}"/>
              </a:ext>
            </a:extLst>
          </p:cNvPr>
          <p:cNvSpPr txBox="1"/>
          <p:nvPr/>
        </p:nvSpPr>
        <p:spPr>
          <a:xfrm>
            <a:off x="407063" y="5764452"/>
            <a:ext cx="1643482" cy="553998"/>
          </a:xfrm>
          <a:prstGeom prst="rect">
            <a:avLst/>
          </a:prstGeom>
          <a:noFill/>
        </p:spPr>
        <p:txBody>
          <a:bodyPr wrap="square" rtlCol="0">
            <a:spAutoFit/>
          </a:bodyPr>
          <a:lstStyle>
            <a:defPPr>
              <a:defRPr lang="en-US"/>
            </a:defPPr>
            <a:lvl1pPr marL="0" algn="l" defTabSz="2479613" rtl="0" eaLnBrk="1" latinLnBrk="0" hangingPunct="1">
              <a:defRPr sz="4882" kern="1200">
                <a:solidFill>
                  <a:schemeClr val="tx1"/>
                </a:solidFill>
                <a:latin typeface="+mn-lt"/>
                <a:ea typeface="+mn-ea"/>
                <a:cs typeface="+mn-cs"/>
              </a:defRPr>
            </a:lvl1pPr>
            <a:lvl2pPr marL="1239806" algn="l" defTabSz="2479613" rtl="0" eaLnBrk="1" latinLnBrk="0" hangingPunct="1">
              <a:defRPr sz="4882" kern="1200">
                <a:solidFill>
                  <a:schemeClr val="tx1"/>
                </a:solidFill>
                <a:latin typeface="+mn-lt"/>
                <a:ea typeface="+mn-ea"/>
                <a:cs typeface="+mn-cs"/>
              </a:defRPr>
            </a:lvl2pPr>
            <a:lvl3pPr marL="2479613" algn="l" defTabSz="2479613" rtl="0" eaLnBrk="1" latinLnBrk="0" hangingPunct="1">
              <a:defRPr sz="4882" kern="1200">
                <a:solidFill>
                  <a:schemeClr val="tx1"/>
                </a:solidFill>
                <a:latin typeface="+mn-lt"/>
                <a:ea typeface="+mn-ea"/>
                <a:cs typeface="+mn-cs"/>
              </a:defRPr>
            </a:lvl3pPr>
            <a:lvl4pPr marL="3719421" algn="l" defTabSz="2479613" rtl="0" eaLnBrk="1" latinLnBrk="0" hangingPunct="1">
              <a:defRPr sz="4882" kern="1200">
                <a:solidFill>
                  <a:schemeClr val="tx1"/>
                </a:solidFill>
                <a:latin typeface="+mn-lt"/>
                <a:ea typeface="+mn-ea"/>
                <a:cs typeface="+mn-cs"/>
              </a:defRPr>
            </a:lvl4pPr>
            <a:lvl5pPr marL="4959228" algn="l" defTabSz="2479613" rtl="0" eaLnBrk="1" latinLnBrk="0" hangingPunct="1">
              <a:defRPr sz="4882" kern="1200">
                <a:solidFill>
                  <a:schemeClr val="tx1"/>
                </a:solidFill>
                <a:latin typeface="+mn-lt"/>
                <a:ea typeface="+mn-ea"/>
                <a:cs typeface="+mn-cs"/>
              </a:defRPr>
            </a:lvl5pPr>
            <a:lvl6pPr marL="6199034" algn="l" defTabSz="2479613" rtl="0" eaLnBrk="1" latinLnBrk="0" hangingPunct="1">
              <a:defRPr sz="4882" kern="1200">
                <a:solidFill>
                  <a:schemeClr val="tx1"/>
                </a:solidFill>
                <a:latin typeface="+mn-lt"/>
                <a:ea typeface="+mn-ea"/>
                <a:cs typeface="+mn-cs"/>
              </a:defRPr>
            </a:lvl6pPr>
            <a:lvl7pPr marL="7438840" algn="l" defTabSz="2479613" rtl="0" eaLnBrk="1" latinLnBrk="0" hangingPunct="1">
              <a:defRPr sz="4882" kern="1200">
                <a:solidFill>
                  <a:schemeClr val="tx1"/>
                </a:solidFill>
                <a:latin typeface="+mn-lt"/>
                <a:ea typeface="+mn-ea"/>
                <a:cs typeface="+mn-cs"/>
              </a:defRPr>
            </a:lvl7pPr>
            <a:lvl8pPr marL="8678647" algn="l" defTabSz="2479613" rtl="0" eaLnBrk="1" latinLnBrk="0" hangingPunct="1">
              <a:defRPr sz="4882" kern="1200">
                <a:solidFill>
                  <a:schemeClr val="tx1"/>
                </a:solidFill>
                <a:latin typeface="+mn-lt"/>
                <a:ea typeface="+mn-ea"/>
                <a:cs typeface="+mn-cs"/>
              </a:defRPr>
            </a:lvl8pPr>
            <a:lvl9pPr marL="9918455" algn="l" defTabSz="2479613" rtl="0" eaLnBrk="1" latinLnBrk="0" hangingPunct="1">
              <a:defRPr sz="4882" kern="1200">
                <a:solidFill>
                  <a:schemeClr val="tx1"/>
                </a:solidFill>
                <a:latin typeface="+mn-lt"/>
                <a:ea typeface="+mn-ea"/>
                <a:cs typeface="+mn-cs"/>
              </a:defRPr>
            </a:lvl9p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communicate in a transparent and proactive way</a:t>
            </a:r>
          </a:p>
        </p:txBody>
      </p:sp>
      <p:sp>
        <p:nvSpPr>
          <p:cNvPr id="285" name="TextBox 124">
            <a:extLst>
              <a:ext uri="{FF2B5EF4-FFF2-40B4-BE49-F238E27FC236}">
                <a16:creationId xmlns:a16="http://schemas.microsoft.com/office/drawing/2014/main" id="{070AAAA7-2A70-FB1A-501C-2630F468E880}"/>
              </a:ext>
            </a:extLst>
          </p:cNvPr>
          <p:cNvSpPr txBox="1"/>
          <p:nvPr/>
        </p:nvSpPr>
        <p:spPr>
          <a:xfrm>
            <a:off x="407063" y="6371738"/>
            <a:ext cx="1643482"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use simple language and avoid jargon where possible</a:t>
            </a:r>
          </a:p>
        </p:txBody>
      </p:sp>
      <p:sp>
        <p:nvSpPr>
          <p:cNvPr id="298" name="TextBox 297">
            <a:extLst>
              <a:ext uri="{FF2B5EF4-FFF2-40B4-BE49-F238E27FC236}">
                <a16:creationId xmlns:a16="http://schemas.microsoft.com/office/drawing/2014/main" id="{EE36AA7E-54DC-4E78-54EF-B9956210C010}"/>
              </a:ext>
            </a:extLst>
          </p:cNvPr>
          <p:cNvSpPr txBox="1"/>
          <p:nvPr/>
        </p:nvSpPr>
        <p:spPr>
          <a:xfrm>
            <a:off x="2422207" y="1640641"/>
            <a:ext cx="1355871" cy="553998"/>
          </a:xfrm>
          <a:prstGeom prst="rect">
            <a:avLst/>
          </a:prstGeom>
          <a:solidFill>
            <a:schemeClr val="accent6"/>
          </a:solidFill>
        </p:spPr>
        <p:txBody>
          <a:bodyPr wrap="square">
            <a:noAutofit/>
          </a:bodyPr>
          <a:lstStyle/>
          <a:p>
            <a:pPr algn="ctr"/>
            <a:r>
              <a:rPr lang="en-AU" sz="1000" dirty="0">
                <a:solidFill>
                  <a:schemeClr val="bg1"/>
                </a:solidFill>
              </a:rPr>
              <a:t>Applicant lodges condition discharge request</a:t>
            </a:r>
          </a:p>
        </p:txBody>
      </p:sp>
      <p:sp>
        <p:nvSpPr>
          <p:cNvPr id="192" name="Rectangle 191">
            <a:extLst>
              <a:ext uri="{FF2B5EF4-FFF2-40B4-BE49-F238E27FC236}">
                <a16:creationId xmlns:a16="http://schemas.microsoft.com/office/drawing/2014/main" id="{9820B959-C554-A110-8D39-C52F544AF000}"/>
              </a:ext>
            </a:extLst>
          </p:cNvPr>
          <p:cNvSpPr/>
          <p:nvPr/>
        </p:nvSpPr>
        <p:spPr>
          <a:xfrm>
            <a:off x="2615271" y="2867589"/>
            <a:ext cx="1162807" cy="2322794"/>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200"/>
              </a:spcAft>
            </a:pPr>
            <a:r>
              <a:rPr lang="en-AU" sz="1000" b="1" dirty="0">
                <a:solidFill>
                  <a:schemeClr val="accent6"/>
                </a:solidFill>
              </a:rPr>
              <a:t>Day 0</a:t>
            </a:r>
          </a:p>
          <a:p>
            <a:pPr defTabSz="466522">
              <a:spcAft>
                <a:spcPts val="200"/>
              </a:spcAft>
            </a:pPr>
            <a:r>
              <a:rPr lang="en-AU" sz="1000" b="1" dirty="0">
                <a:solidFill>
                  <a:srgbClr val="017D7D"/>
                </a:solidFill>
              </a:rPr>
              <a:t>Lodgement</a:t>
            </a:r>
          </a:p>
          <a:p>
            <a:pPr defTabSz="466522">
              <a:spcAft>
                <a:spcPts val="600"/>
              </a:spcAft>
            </a:pPr>
            <a:r>
              <a:rPr lang="en-AU" sz="1000" dirty="0">
                <a:solidFill>
                  <a:schemeClr val="accent6"/>
                </a:solidFill>
                <a:cs typeface="Segoe UI Semilight"/>
              </a:rPr>
              <a:t>Applicant lodges documents for condition discharge.</a:t>
            </a:r>
          </a:p>
          <a:p>
            <a:pPr defTabSz="466522">
              <a:spcAft>
                <a:spcPts val="600"/>
              </a:spcAft>
            </a:pPr>
            <a:r>
              <a:rPr lang="en-AU" sz="1000" dirty="0">
                <a:solidFill>
                  <a:schemeClr val="accent6"/>
                </a:solidFill>
              </a:rPr>
              <a:t>Council lodgement system issues automated receipt of submission. </a:t>
            </a:r>
          </a:p>
          <a:p>
            <a:pPr marL="72000" indent="-72000" defTabSz="466522">
              <a:spcAft>
                <a:spcPts val="200"/>
              </a:spcAft>
              <a:buFont typeface="Arial" panose="020B0604020202020204" pitchFamily="34" charset="0"/>
              <a:buChar char="•"/>
            </a:pPr>
            <a:endParaRPr lang="en-AU" sz="1000" dirty="0">
              <a:solidFill>
                <a:schemeClr val="accent6"/>
              </a:solidFill>
              <a:cs typeface="Segoe UI Semilight"/>
            </a:endParaRPr>
          </a:p>
        </p:txBody>
      </p:sp>
      <p:sp>
        <p:nvSpPr>
          <p:cNvPr id="300" name="TextBox 299">
            <a:extLst>
              <a:ext uri="{FF2B5EF4-FFF2-40B4-BE49-F238E27FC236}">
                <a16:creationId xmlns:a16="http://schemas.microsoft.com/office/drawing/2014/main" id="{BAC38489-A8F7-3836-06D9-7D42261ACCCE}"/>
              </a:ext>
            </a:extLst>
          </p:cNvPr>
          <p:cNvSpPr txBox="1"/>
          <p:nvPr/>
        </p:nvSpPr>
        <p:spPr>
          <a:xfrm>
            <a:off x="3890929" y="1640641"/>
            <a:ext cx="5321169" cy="552516"/>
          </a:xfrm>
          <a:prstGeom prst="rect">
            <a:avLst/>
          </a:prstGeom>
          <a:solidFill>
            <a:schemeClr val="accent6"/>
          </a:solidFill>
        </p:spPr>
        <p:txBody>
          <a:bodyPr wrap="square">
            <a:noAutofit/>
          </a:bodyPr>
          <a:lstStyle/>
          <a:p>
            <a:pPr algn="ctr"/>
            <a:r>
              <a:rPr lang="en-AU" sz="1000" dirty="0">
                <a:solidFill>
                  <a:schemeClr val="bg1"/>
                </a:solidFill>
              </a:rPr>
              <a:t>Council efficiently assesses each condition discharge submission and consistently identifies missing information necessary to discharge the condition. The applicant is given the opportunity to provide further information to support Council’s decision</a:t>
            </a:r>
          </a:p>
        </p:txBody>
      </p:sp>
      <p:sp>
        <p:nvSpPr>
          <p:cNvPr id="207" name="Rectangle 206">
            <a:extLst>
              <a:ext uri="{FF2B5EF4-FFF2-40B4-BE49-F238E27FC236}">
                <a16:creationId xmlns:a16="http://schemas.microsoft.com/office/drawing/2014/main" id="{C9511133-BC21-EFCC-0258-0BB79429762F}"/>
              </a:ext>
            </a:extLst>
          </p:cNvPr>
          <p:cNvSpPr/>
          <p:nvPr/>
        </p:nvSpPr>
        <p:spPr>
          <a:xfrm>
            <a:off x="3985607" y="2873706"/>
            <a:ext cx="1474939" cy="1848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200"/>
              </a:spcAft>
            </a:pPr>
            <a:r>
              <a:rPr lang="en-AU" sz="1000" b="1" dirty="0">
                <a:solidFill>
                  <a:schemeClr val="accent6"/>
                </a:solidFill>
              </a:rPr>
              <a:t>Day 1-2</a:t>
            </a:r>
          </a:p>
          <a:p>
            <a:pPr defTabSz="466522">
              <a:spcAft>
                <a:spcPts val="200"/>
              </a:spcAft>
            </a:pPr>
            <a:r>
              <a:rPr lang="en-AU" sz="1000" b="1" dirty="0">
                <a:solidFill>
                  <a:srgbClr val="017D7D"/>
                </a:solidFill>
              </a:rPr>
              <a:t>Registration and Allocation</a:t>
            </a:r>
          </a:p>
          <a:p>
            <a:pPr defTabSz="466522">
              <a:spcAft>
                <a:spcPts val="600"/>
              </a:spcAft>
            </a:pPr>
            <a:r>
              <a:rPr lang="en-AU" sz="1000" dirty="0">
                <a:solidFill>
                  <a:schemeClr val="accent6"/>
                </a:solidFill>
                <a:cs typeface="Segoe UI Semilight"/>
              </a:rPr>
              <a:t>Council receives documents.</a:t>
            </a:r>
          </a:p>
          <a:p>
            <a:pPr defTabSz="466522">
              <a:spcAft>
                <a:spcPts val="600"/>
              </a:spcAft>
            </a:pPr>
            <a:r>
              <a:rPr lang="en-AU" sz="1000" dirty="0">
                <a:solidFill>
                  <a:schemeClr val="accent6"/>
                </a:solidFill>
                <a:cs typeface="Segoe UI Semilight"/>
              </a:rPr>
              <a:t>Planning support uploads documents to enterprise software (if relevant).</a:t>
            </a:r>
          </a:p>
          <a:p>
            <a:pPr defTabSz="466522">
              <a:spcAft>
                <a:spcPts val="600"/>
              </a:spcAft>
            </a:pPr>
            <a:r>
              <a:rPr lang="en-AU" sz="1000" dirty="0">
                <a:solidFill>
                  <a:schemeClr val="accent6"/>
                </a:solidFill>
                <a:cs typeface="Segoe UI Semilight"/>
              </a:rPr>
              <a:t>Planning support updates planning permit application register. </a:t>
            </a:r>
          </a:p>
          <a:p>
            <a:pPr defTabSz="466522">
              <a:spcAft>
                <a:spcPts val="600"/>
              </a:spcAft>
            </a:pPr>
            <a:r>
              <a:rPr lang="en-AU" sz="1000" dirty="0">
                <a:solidFill>
                  <a:schemeClr val="accent6"/>
                </a:solidFill>
                <a:cs typeface="Segoe UI Semilight"/>
              </a:rPr>
              <a:t>Planning support sends an email to applicant confirming the council has received their documents. </a:t>
            </a:r>
          </a:p>
          <a:p>
            <a:pPr defTabSz="466522">
              <a:spcAft>
                <a:spcPts val="600"/>
              </a:spcAft>
            </a:pPr>
            <a:r>
              <a:rPr lang="en-AU" sz="1000" dirty="0">
                <a:solidFill>
                  <a:schemeClr val="accent6"/>
                </a:solidFill>
                <a:cs typeface="Segoe UI Semilight"/>
              </a:rPr>
              <a:t>Council planning management team reviews application and allocates to a planner. Ideally, the conditions discharge will be allocated to the same planner who issued the permit. </a:t>
            </a:r>
          </a:p>
          <a:p>
            <a:pPr defTabSz="466522">
              <a:spcAft>
                <a:spcPts val="600"/>
              </a:spcAft>
            </a:pPr>
            <a:r>
              <a:rPr lang="en-AU" sz="1000" dirty="0">
                <a:solidFill>
                  <a:schemeClr val="accent6"/>
                </a:solidFill>
                <a:cs typeface="Segoe UI Semilight"/>
              </a:rPr>
              <a:t>Allocated planner is notified of the application.</a:t>
            </a:r>
          </a:p>
          <a:p>
            <a:pPr defTabSz="466522">
              <a:spcAft>
                <a:spcPts val="200"/>
              </a:spcAft>
            </a:pPr>
            <a:endParaRPr lang="en-AU" sz="1000" b="1" dirty="0">
              <a:solidFill>
                <a:srgbClr val="7F0D82"/>
              </a:solidFill>
            </a:endParaRPr>
          </a:p>
        </p:txBody>
      </p:sp>
      <p:sp>
        <p:nvSpPr>
          <p:cNvPr id="171" name="Rectangle 170">
            <a:extLst>
              <a:ext uri="{FF2B5EF4-FFF2-40B4-BE49-F238E27FC236}">
                <a16:creationId xmlns:a16="http://schemas.microsoft.com/office/drawing/2014/main" id="{AA17DFA6-1446-3DC3-27E7-B1A2C4C9A160}"/>
              </a:ext>
            </a:extLst>
          </p:cNvPr>
          <p:cNvSpPr/>
          <p:nvPr/>
        </p:nvSpPr>
        <p:spPr>
          <a:xfrm>
            <a:off x="5721938" y="2873705"/>
            <a:ext cx="1121561"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2-7</a:t>
            </a:r>
          </a:p>
          <a:p>
            <a:pPr defTabSz="466522">
              <a:spcAft>
                <a:spcPts val="300"/>
              </a:spcAft>
            </a:pPr>
            <a:r>
              <a:rPr lang="en-AU" sz="1000" b="1" dirty="0">
                <a:solidFill>
                  <a:srgbClr val="017D7D"/>
                </a:solidFill>
              </a:rPr>
              <a:t>Assessment</a:t>
            </a:r>
          </a:p>
          <a:p>
            <a:pPr defTabSz="466522">
              <a:spcAft>
                <a:spcPts val="600"/>
              </a:spcAft>
            </a:pPr>
            <a:r>
              <a:rPr lang="en-AU" sz="1000" dirty="0">
                <a:solidFill>
                  <a:schemeClr val="accent6"/>
                </a:solidFill>
                <a:cs typeface="Segoe UI Semilight"/>
              </a:rPr>
              <a:t>The allocated planner undertakes preliminary assessment to:</a:t>
            </a:r>
          </a:p>
          <a:p>
            <a:pPr marL="171450" indent="-171450" defTabSz="466522">
              <a:spcAft>
                <a:spcPts val="600"/>
              </a:spcAft>
              <a:buFont typeface="Arial" panose="020B0604020202020204" pitchFamily="34" charset="0"/>
              <a:buChar char="•"/>
            </a:pPr>
            <a:r>
              <a:rPr lang="en-AU" sz="1000" dirty="0">
                <a:solidFill>
                  <a:schemeClr val="accent6"/>
                </a:solidFill>
                <a:cs typeface="Segoe UI Semilight"/>
              </a:rPr>
              <a:t>identify any missing information</a:t>
            </a:r>
          </a:p>
          <a:p>
            <a:pPr marL="171450" indent="-171450" defTabSz="466522">
              <a:spcAft>
                <a:spcPts val="600"/>
              </a:spcAft>
              <a:buFont typeface="Arial" panose="020B0604020202020204" pitchFamily="34" charset="0"/>
              <a:buChar char="•"/>
            </a:pPr>
            <a:r>
              <a:rPr lang="en-AU" sz="1000" dirty="0">
                <a:solidFill>
                  <a:schemeClr val="accent6"/>
                </a:solidFill>
                <a:cs typeface="Segoe UI Semilight"/>
              </a:rPr>
              <a:t>identify any internal referrals</a:t>
            </a:r>
          </a:p>
          <a:p>
            <a:pPr defTabSz="466522">
              <a:spcAft>
                <a:spcPts val="600"/>
              </a:spcAft>
            </a:pPr>
            <a:r>
              <a:rPr lang="en-AU" sz="1000" dirty="0">
                <a:solidFill>
                  <a:schemeClr val="accent6"/>
                </a:solidFill>
                <a:cs typeface="Segoe UI Semilight"/>
              </a:rPr>
              <a:t>Planner refers application to internal Council departments (if required). </a:t>
            </a:r>
          </a:p>
        </p:txBody>
      </p:sp>
      <p:sp>
        <p:nvSpPr>
          <p:cNvPr id="174" name="Rectangle 173">
            <a:extLst>
              <a:ext uri="{FF2B5EF4-FFF2-40B4-BE49-F238E27FC236}">
                <a16:creationId xmlns:a16="http://schemas.microsoft.com/office/drawing/2014/main" id="{09438AD5-40D1-AB52-7D80-D2CCA92CB37B}"/>
              </a:ext>
            </a:extLst>
          </p:cNvPr>
          <p:cNvSpPr/>
          <p:nvPr/>
        </p:nvSpPr>
        <p:spPr>
          <a:xfrm>
            <a:off x="6962413" y="2873705"/>
            <a:ext cx="1091016" cy="4102969"/>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7-14</a:t>
            </a:r>
          </a:p>
          <a:p>
            <a:pPr defTabSz="466522">
              <a:spcAft>
                <a:spcPts val="300"/>
              </a:spcAft>
            </a:pPr>
            <a:r>
              <a:rPr lang="en-AU" sz="1000" b="1" dirty="0">
                <a:solidFill>
                  <a:srgbClr val="017D7D"/>
                </a:solidFill>
              </a:rPr>
              <a:t>Request for additional information </a:t>
            </a:r>
            <a:r>
              <a:rPr lang="en-AU" sz="1000" dirty="0">
                <a:solidFill>
                  <a:srgbClr val="017D7D"/>
                </a:solidFill>
              </a:rPr>
              <a:t>(if required and at council discretion)</a:t>
            </a:r>
          </a:p>
          <a:p>
            <a:pPr defTabSz="466522">
              <a:spcAft>
                <a:spcPts val="600"/>
              </a:spcAft>
            </a:pPr>
            <a:r>
              <a:rPr lang="en-AU" sz="1000" dirty="0">
                <a:solidFill>
                  <a:schemeClr val="accent6"/>
                </a:solidFill>
                <a:cs typeface="Segoe UI Semilight"/>
              </a:rPr>
              <a:t>Applicant receives request.</a:t>
            </a:r>
          </a:p>
          <a:p>
            <a:pPr defTabSz="466522">
              <a:spcAft>
                <a:spcPts val="600"/>
              </a:spcAft>
            </a:pPr>
            <a:r>
              <a:rPr lang="en-AU" sz="1000" dirty="0">
                <a:solidFill>
                  <a:schemeClr val="accent6"/>
                </a:solidFill>
                <a:cs typeface="Segoe UI Semilight"/>
              </a:rPr>
              <a:t>Applicant prepares response.</a:t>
            </a:r>
          </a:p>
          <a:p>
            <a:pPr defTabSz="466522"/>
            <a:r>
              <a:rPr lang="en-AU" sz="1000" dirty="0">
                <a:solidFill>
                  <a:schemeClr val="accent6"/>
                </a:solidFill>
                <a:cs typeface="Segoe UI Semilight"/>
              </a:rPr>
              <a:t>If necessary and at their discretion, the planner may provide a request to the applicant for:</a:t>
            </a:r>
          </a:p>
          <a:p>
            <a:pPr marL="171450" indent="-171450" defTabSz="466522">
              <a:buFont typeface="Arial" panose="020B0604020202020204" pitchFamily="34" charset="0"/>
              <a:buChar char="•"/>
            </a:pPr>
            <a:r>
              <a:rPr lang="en-AU" sz="1000" dirty="0">
                <a:solidFill>
                  <a:schemeClr val="accent6"/>
                </a:solidFill>
                <a:cs typeface="Segoe UI Semilight"/>
              </a:rPr>
              <a:t>required further information</a:t>
            </a:r>
          </a:p>
          <a:p>
            <a:pPr marL="171450" indent="-171450" defTabSz="466522">
              <a:buFont typeface="Arial" panose="020B0604020202020204" pitchFamily="34" charset="0"/>
              <a:buChar char="•"/>
            </a:pPr>
            <a:r>
              <a:rPr lang="en-AU" sz="1000" dirty="0">
                <a:solidFill>
                  <a:schemeClr val="accent6"/>
                </a:solidFill>
                <a:cs typeface="Segoe UI Semilight"/>
              </a:rPr>
              <a:t>internal council department referral comments (if applicable)</a:t>
            </a:r>
          </a:p>
          <a:p>
            <a:pPr defTabSz="466522"/>
            <a:endParaRPr lang="en-AU" sz="1000" dirty="0">
              <a:solidFill>
                <a:schemeClr val="accent6"/>
              </a:solidFill>
              <a:cs typeface="Segoe UI Semilight"/>
            </a:endParaRPr>
          </a:p>
        </p:txBody>
      </p:sp>
      <p:sp>
        <p:nvSpPr>
          <p:cNvPr id="178" name="Rectangle 177">
            <a:extLst>
              <a:ext uri="{FF2B5EF4-FFF2-40B4-BE49-F238E27FC236}">
                <a16:creationId xmlns:a16="http://schemas.microsoft.com/office/drawing/2014/main" id="{CF8E6FE8-618B-2D3A-3D9B-A0C65636CBFB}"/>
              </a:ext>
            </a:extLst>
          </p:cNvPr>
          <p:cNvSpPr/>
          <p:nvPr/>
        </p:nvSpPr>
        <p:spPr>
          <a:xfrm>
            <a:off x="8195905" y="2873705"/>
            <a:ext cx="1123201"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14-21</a:t>
            </a:r>
          </a:p>
          <a:p>
            <a:pPr defTabSz="466522">
              <a:spcAft>
                <a:spcPts val="300"/>
              </a:spcAft>
            </a:pPr>
            <a:r>
              <a:rPr lang="en-AU" sz="1000" b="1" dirty="0">
                <a:solidFill>
                  <a:srgbClr val="017D7D"/>
                </a:solidFill>
                <a:cs typeface="Segoe UI"/>
              </a:rPr>
              <a:t>Response Review </a:t>
            </a:r>
            <a:r>
              <a:rPr lang="en-AU" sz="1000" dirty="0">
                <a:solidFill>
                  <a:srgbClr val="017D7D"/>
                </a:solidFill>
                <a:cs typeface="Segoe UI"/>
              </a:rPr>
              <a:t>(if required) </a:t>
            </a:r>
          </a:p>
          <a:p>
            <a:pPr>
              <a:spcAft>
                <a:spcPts val="600"/>
              </a:spcAft>
            </a:pPr>
            <a:r>
              <a:rPr lang="en-AU" sz="1000" dirty="0">
                <a:solidFill>
                  <a:schemeClr val="accent6"/>
                </a:solidFill>
              </a:rPr>
              <a:t>Applicant submits a response with the requested information.</a:t>
            </a:r>
          </a:p>
          <a:p>
            <a:pPr defTabSz="466522">
              <a:spcAft>
                <a:spcPts val="600"/>
              </a:spcAft>
            </a:pPr>
            <a:r>
              <a:rPr lang="en-AU" sz="1000" dirty="0">
                <a:solidFill>
                  <a:schemeClr val="accent6"/>
                </a:solidFill>
                <a:cs typeface="Segoe UI Semilight"/>
              </a:rPr>
              <a:t>Council receives the additional information.</a:t>
            </a:r>
          </a:p>
          <a:p>
            <a:pPr defTabSz="466522">
              <a:spcAft>
                <a:spcPts val="600"/>
              </a:spcAft>
            </a:pPr>
            <a:r>
              <a:rPr lang="en-AU" sz="1000" dirty="0">
                <a:solidFill>
                  <a:schemeClr val="accent6"/>
                </a:solidFill>
                <a:cs typeface="Segoe UI Semilight"/>
              </a:rPr>
              <a:t>Planner reviews </a:t>
            </a:r>
            <a:br>
              <a:rPr lang="en-AU" sz="1000" dirty="0">
                <a:solidFill>
                  <a:schemeClr val="accent6"/>
                </a:solidFill>
                <a:cs typeface="Segoe UI Semilight"/>
              </a:rPr>
            </a:br>
            <a:r>
              <a:rPr lang="en-AU" sz="1000" dirty="0">
                <a:solidFill>
                  <a:schemeClr val="accent6"/>
                </a:solidFill>
                <a:cs typeface="Segoe UI Semilight"/>
              </a:rPr>
              <a:t>the supplied information within one week of lodgement. </a:t>
            </a:r>
          </a:p>
        </p:txBody>
      </p:sp>
      <p:sp>
        <p:nvSpPr>
          <p:cNvPr id="301" name="TextBox 300">
            <a:extLst>
              <a:ext uri="{FF2B5EF4-FFF2-40B4-BE49-F238E27FC236}">
                <a16:creationId xmlns:a16="http://schemas.microsoft.com/office/drawing/2014/main" id="{FADD6179-7D69-BE26-F503-8C231CC9F24E}"/>
              </a:ext>
            </a:extLst>
          </p:cNvPr>
          <p:cNvSpPr txBox="1"/>
          <p:nvPr/>
        </p:nvSpPr>
        <p:spPr>
          <a:xfrm>
            <a:off x="9319107" y="1640640"/>
            <a:ext cx="1147012" cy="552515"/>
          </a:xfrm>
          <a:prstGeom prst="rect">
            <a:avLst/>
          </a:prstGeom>
          <a:solidFill>
            <a:schemeClr val="accent6"/>
          </a:solidFill>
        </p:spPr>
        <p:txBody>
          <a:bodyPr wrap="square">
            <a:noAutofit/>
          </a:bodyPr>
          <a:lstStyle/>
          <a:p>
            <a:pPr algn="ctr"/>
            <a:r>
              <a:rPr lang="en-AU" sz="1000" dirty="0">
                <a:solidFill>
                  <a:schemeClr val="bg1"/>
                </a:solidFill>
              </a:rPr>
              <a:t>Council Discharges Condition</a:t>
            </a:r>
          </a:p>
        </p:txBody>
      </p:sp>
      <p:sp>
        <p:nvSpPr>
          <p:cNvPr id="220" name="Rectangle 219">
            <a:extLst>
              <a:ext uri="{FF2B5EF4-FFF2-40B4-BE49-F238E27FC236}">
                <a16:creationId xmlns:a16="http://schemas.microsoft.com/office/drawing/2014/main" id="{043F5A3F-4807-E245-5689-438E2027A9ED}"/>
              </a:ext>
            </a:extLst>
          </p:cNvPr>
          <p:cNvSpPr/>
          <p:nvPr/>
        </p:nvSpPr>
        <p:spPr>
          <a:xfrm>
            <a:off x="9439661" y="2873705"/>
            <a:ext cx="1026457"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300"/>
              </a:spcAft>
            </a:pPr>
            <a:r>
              <a:rPr lang="en-AU" sz="1000" b="1" dirty="0">
                <a:solidFill>
                  <a:schemeClr val="accent6"/>
                </a:solidFill>
              </a:rPr>
              <a:t>Day 21-30 </a:t>
            </a:r>
            <a:r>
              <a:rPr lang="en-AU" sz="1000" b="1" dirty="0">
                <a:solidFill>
                  <a:srgbClr val="017D7D"/>
                </a:solidFill>
              </a:rPr>
              <a:t>Condition Discharged</a:t>
            </a:r>
          </a:p>
          <a:p>
            <a:pPr defTabSz="466522">
              <a:spcAft>
                <a:spcPts val="600"/>
              </a:spcAft>
            </a:pPr>
            <a:r>
              <a:rPr lang="en-AU" sz="1000" dirty="0">
                <a:solidFill>
                  <a:schemeClr val="accent6"/>
                </a:solidFill>
                <a:cs typeface="Segoe UI Semilight"/>
              </a:rPr>
              <a:t>Applicant receives the letter advising that the condition has been discharged, along with endorsed documents.</a:t>
            </a:r>
          </a:p>
          <a:p>
            <a:pPr defTabSz="466522">
              <a:spcAft>
                <a:spcPts val="600"/>
              </a:spcAft>
            </a:pPr>
            <a:r>
              <a:rPr lang="en-AU" sz="1000" dirty="0">
                <a:solidFill>
                  <a:schemeClr val="accent6"/>
                </a:solidFill>
                <a:cs typeface="Segoe UI Semilight"/>
              </a:rPr>
              <a:t>Council issues a letter advising that the condition has been discharged, along with endorsed documents</a:t>
            </a:r>
          </a:p>
          <a:p>
            <a:pPr defTabSz="466522">
              <a:spcAft>
                <a:spcPts val="600"/>
              </a:spcAft>
            </a:pPr>
            <a:endParaRPr lang="en-AU" sz="1000" dirty="0">
              <a:solidFill>
                <a:schemeClr val="accent6"/>
              </a:solidFill>
              <a:cs typeface="Segoe UI Semilight"/>
            </a:endParaRPr>
          </a:p>
        </p:txBody>
      </p:sp>
      <p:cxnSp>
        <p:nvCxnSpPr>
          <p:cNvPr id="172" name="Straight Connector 171">
            <a:extLst>
              <a:ext uri="{FF2B5EF4-FFF2-40B4-BE49-F238E27FC236}">
                <a16:creationId xmlns:a16="http://schemas.microsoft.com/office/drawing/2014/main" id="{08E652BE-40D5-69CB-9567-20D4E4CF5F04}"/>
              </a:ext>
              <a:ext uri="{C183D7F6-B498-43B3-948B-1728B52AA6E4}">
                <adec:decorative xmlns:adec="http://schemas.microsoft.com/office/drawing/2017/decorative" val="1"/>
              </a:ext>
            </a:extLst>
          </p:cNvPr>
          <p:cNvCxnSpPr>
            <a:cxnSpLocks/>
            <a:stCxn id="197" idx="4"/>
          </p:cNvCxnSpPr>
          <p:nvPr/>
        </p:nvCxnSpPr>
        <p:spPr>
          <a:xfrm>
            <a:off x="5613291"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173" name="Graphic 10">
            <a:extLst>
              <a:ext uri="{FF2B5EF4-FFF2-40B4-BE49-F238E27FC236}">
                <a16:creationId xmlns:a16="http://schemas.microsoft.com/office/drawing/2014/main" id="{EAEE3940-1B7D-035F-7625-982DB66B5FB5}"/>
              </a:ext>
              <a:ext uri="{C183D7F6-B498-43B3-948B-1728B52AA6E4}">
                <adec:decorative xmlns:adec="http://schemas.microsoft.com/office/drawing/2017/decorative" val="1"/>
              </a:ext>
            </a:extLst>
          </p:cNvPr>
          <p:cNvGrpSpPr/>
          <p:nvPr/>
        </p:nvGrpSpPr>
        <p:grpSpPr>
          <a:xfrm>
            <a:off x="6943065" y="2650570"/>
            <a:ext cx="229011" cy="229011"/>
            <a:chOff x="4793612" y="3718427"/>
            <a:chExt cx="255295" cy="255295"/>
          </a:xfrm>
          <a:solidFill>
            <a:schemeClr val="accent5"/>
          </a:solidFill>
        </p:grpSpPr>
        <p:sp>
          <p:nvSpPr>
            <p:cNvPr id="244" name="Freeform: Shape 243">
              <a:extLst>
                <a:ext uri="{FF2B5EF4-FFF2-40B4-BE49-F238E27FC236}">
                  <a16:creationId xmlns:a16="http://schemas.microsoft.com/office/drawing/2014/main" id="{9567A77F-F1BC-058F-DB83-DD0597BFFFD8}"/>
                </a:ext>
              </a:extLst>
            </p:cNvPr>
            <p:cNvSpPr/>
            <p:nvPr/>
          </p:nvSpPr>
          <p:spPr>
            <a:xfrm>
              <a:off x="4793612" y="3718427"/>
              <a:ext cx="255295" cy="255295"/>
            </a:xfrm>
            <a:custGeom>
              <a:avLst/>
              <a:gdLst>
                <a:gd name="connsiteX0" fmla="*/ 127648 w 255295"/>
                <a:gd name="connsiteY0" fmla="*/ 243775 h 255295"/>
                <a:gd name="connsiteX1" fmla="*/ 11521 w 255295"/>
                <a:gd name="connsiteY1" fmla="*/ 127648 h 255295"/>
                <a:gd name="connsiteX2" fmla="*/ 127648 w 255295"/>
                <a:gd name="connsiteY2" fmla="*/ 11521 h 255295"/>
                <a:gd name="connsiteX3" fmla="*/ 243774 w 255295"/>
                <a:gd name="connsiteY3" fmla="*/ 127648 h 255295"/>
                <a:gd name="connsiteX4" fmla="*/ 127648 w 255295"/>
                <a:gd name="connsiteY4" fmla="*/ 243775 h 255295"/>
                <a:gd name="connsiteX5" fmla="*/ 127648 w 255295"/>
                <a:gd name="connsiteY5" fmla="*/ 0 h 255295"/>
                <a:gd name="connsiteX6" fmla="*/ 0 w 255295"/>
                <a:gd name="connsiteY6" fmla="*/ 127648 h 255295"/>
                <a:gd name="connsiteX7" fmla="*/ 127648 w 255295"/>
                <a:gd name="connsiteY7" fmla="*/ 255296 h 255295"/>
                <a:gd name="connsiteX8" fmla="*/ 255296 w 255295"/>
                <a:gd name="connsiteY8" fmla="*/ 127648 h 255295"/>
                <a:gd name="connsiteX9" fmla="*/ 127648 w 255295"/>
                <a:gd name="connsiteY9" fmla="*/ 0 h 2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95" h="255295">
                  <a:moveTo>
                    <a:pt x="127648" y="243775"/>
                  </a:moveTo>
                  <a:cubicBezTo>
                    <a:pt x="63539" y="243775"/>
                    <a:pt x="11521" y="191871"/>
                    <a:pt x="11521" y="127648"/>
                  </a:cubicBezTo>
                  <a:cubicBezTo>
                    <a:pt x="11521" y="63425"/>
                    <a:pt x="63425" y="11521"/>
                    <a:pt x="127648" y="11521"/>
                  </a:cubicBezTo>
                  <a:cubicBezTo>
                    <a:pt x="191871" y="11521"/>
                    <a:pt x="243774" y="63425"/>
                    <a:pt x="243774" y="127648"/>
                  </a:cubicBezTo>
                  <a:cubicBezTo>
                    <a:pt x="243774" y="191871"/>
                    <a:pt x="191871" y="243775"/>
                    <a:pt x="127648" y="243775"/>
                  </a:cubicBezTo>
                  <a:moveTo>
                    <a:pt x="127648" y="0"/>
                  </a:moveTo>
                  <a:cubicBezTo>
                    <a:pt x="57151" y="0"/>
                    <a:pt x="0" y="57151"/>
                    <a:pt x="0" y="127648"/>
                  </a:cubicBezTo>
                  <a:cubicBezTo>
                    <a:pt x="0" y="198145"/>
                    <a:pt x="57151" y="255296"/>
                    <a:pt x="127648" y="255296"/>
                  </a:cubicBezTo>
                  <a:cubicBezTo>
                    <a:pt x="198145" y="255296"/>
                    <a:pt x="255296" y="198145"/>
                    <a:pt x="255296" y="127648"/>
                  </a:cubicBezTo>
                  <a:cubicBezTo>
                    <a:pt x="255296" y="57151"/>
                    <a:pt x="198145" y="0"/>
                    <a:pt x="127648"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45" name="Freeform: Shape 244">
              <a:extLst>
                <a:ext uri="{FF2B5EF4-FFF2-40B4-BE49-F238E27FC236}">
                  <a16:creationId xmlns:a16="http://schemas.microsoft.com/office/drawing/2014/main" id="{13C9F130-3B33-251C-834E-46C0A3679257}"/>
                </a:ext>
              </a:extLst>
            </p:cNvPr>
            <p:cNvSpPr/>
            <p:nvPr/>
          </p:nvSpPr>
          <p:spPr>
            <a:xfrm>
              <a:off x="4793612" y="3718427"/>
              <a:ext cx="255295" cy="255295"/>
            </a:xfrm>
            <a:custGeom>
              <a:avLst/>
              <a:gdLst>
                <a:gd name="connsiteX0" fmla="*/ 127648 w 255295"/>
                <a:gd name="connsiteY0" fmla="*/ 243775 h 255295"/>
                <a:gd name="connsiteX1" fmla="*/ 11521 w 255295"/>
                <a:gd name="connsiteY1" fmla="*/ 127648 h 255295"/>
                <a:gd name="connsiteX2" fmla="*/ 127648 w 255295"/>
                <a:gd name="connsiteY2" fmla="*/ 11521 h 255295"/>
                <a:gd name="connsiteX3" fmla="*/ 243774 w 255295"/>
                <a:gd name="connsiteY3" fmla="*/ 127648 h 255295"/>
                <a:gd name="connsiteX4" fmla="*/ 127648 w 255295"/>
                <a:gd name="connsiteY4" fmla="*/ 243775 h 255295"/>
                <a:gd name="connsiteX5" fmla="*/ 127648 w 255295"/>
                <a:gd name="connsiteY5" fmla="*/ 0 h 255295"/>
                <a:gd name="connsiteX6" fmla="*/ 0 w 255295"/>
                <a:gd name="connsiteY6" fmla="*/ 127648 h 255295"/>
                <a:gd name="connsiteX7" fmla="*/ 127648 w 255295"/>
                <a:gd name="connsiteY7" fmla="*/ 255296 h 255295"/>
                <a:gd name="connsiteX8" fmla="*/ 255296 w 255295"/>
                <a:gd name="connsiteY8" fmla="*/ 127648 h 255295"/>
                <a:gd name="connsiteX9" fmla="*/ 127648 w 255295"/>
                <a:gd name="connsiteY9" fmla="*/ 0 h 2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95" h="255295">
                  <a:moveTo>
                    <a:pt x="127648" y="243775"/>
                  </a:moveTo>
                  <a:cubicBezTo>
                    <a:pt x="63539" y="243775"/>
                    <a:pt x="11521" y="191871"/>
                    <a:pt x="11521" y="127648"/>
                  </a:cubicBezTo>
                  <a:cubicBezTo>
                    <a:pt x="11521" y="63425"/>
                    <a:pt x="63425" y="11521"/>
                    <a:pt x="127648" y="11521"/>
                  </a:cubicBezTo>
                  <a:cubicBezTo>
                    <a:pt x="191871" y="11521"/>
                    <a:pt x="243774" y="63425"/>
                    <a:pt x="243774" y="127648"/>
                  </a:cubicBezTo>
                  <a:cubicBezTo>
                    <a:pt x="243774" y="191871"/>
                    <a:pt x="191871" y="243775"/>
                    <a:pt x="127648" y="243775"/>
                  </a:cubicBezTo>
                  <a:moveTo>
                    <a:pt x="127648" y="0"/>
                  </a:moveTo>
                  <a:cubicBezTo>
                    <a:pt x="57151" y="0"/>
                    <a:pt x="0" y="57151"/>
                    <a:pt x="0" y="127648"/>
                  </a:cubicBezTo>
                  <a:cubicBezTo>
                    <a:pt x="0" y="198145"/>
                    <a:pt x="57151" y="255296"/>
                    <a:pt x="127648" y="255296"/>
                  </a:cubicBezTo>
                  <a:cubicBezTo>
                    <a:pt x="198145" y="255296"/>
                    <a:pt x="255296" y="198145"/>
                    <a:pt x="255296" y="127648"/>
                  </a:cubicBezTo>
                  <a:cubicBezTo>
                    <a:pt x="255296" y="57151"/>
                    <a:pt x="198145" y="0"/>
                    <a:pt x="127648" y="0"/>
                  </a:cubicBezTo>
                </a:path>
              </a:pathLst>
            </a:custGeom>
            <a:grpFill/>
            <a:ln w="11403" cap="flat">
              <a:noFill/>
              <a:prstDash val="solid"/>
              <a:miter/>
            </a:ln>
          </p:spPr>
          <p:txBody>
            <a:bodyPr rtlCol="0" anchor="ctr"/>
            <a:lstStyle/>
            <a:p>
              <a:pPr defTabSz="466522"/>
              <a:endParaRPr lang="en-AU" sz="1000">
                <a:solidFill>
                  <a:prstClr val="black"/>
                </a:solidFill>
              </a:endParaRPr>
            </a:p>
          </p:txBody>
        </p:sp>
        <p:grpSp>
          <p:nvGrpSpPr>
            <p:cNvPr id="246" name="Graphic 10">
              <a:extLst>
                <a:ext uri="{FF2B5EF4-FFF2-40B4-BE49-F238E27FC236}">
                  <a16:creationId xmlns:a16="http://schemas.microsoft.com/office/drawing/2014/main" id="{CE3D754B-2155-2F6F-3474-AD0A142B3595}"/>
                </a:ext>
              </a:extLst>
            </p:cNvPr>
            <p:cNvGrpSpPr/>
            <p:nvPr/>
          </p:nvGrpSpPr>
          <p:grpSpPr>
            <a:xfrm>
              <a:off x="4884528" y="3788240"/>
              <a:ext cx="73348" cy="115555"/>
              <a:chOff x="4884528" y="3788240"/>
              <a:chExt cx="73348" cy="115555"/>
            </a:xfrm>
            <a:grpFill/>
          </p:grpSpPr>
          <p:sp>
            <p:nvSpPr>
              <p:cNvPr id="247" name="Freeform: Shape 246">
                <a:extLst>
                  <a:ext uri="{FF2B5EF4-FFF2-40B4-BE49-F238E27FC236}">
                    <a16:creationId xmlns:a16="http://schemas.microsoft.com/office/drawing/2014/main" id="{06C711CA-7FDC-545B-E048-67874BA651ED}"/>
                  </a:ext>
                </a:extLst>
              </p:cNvPr>
              <p:cNvSpPr/>
              <p:nvPr/>
            </p:nvSpPr>
            <p:spPr>
              <a:xfrm>
                <a:off x="4884528" y="3788240"/>
                <a:ext cx="73348" cy="85668"/>
              </a:xfrm>
              <a:custGeom>
                <a:avLst/>
                <a:gdLst>
                  <a:gd name="connsiteX0" fmla="*/ 69014 w 73348"/>
                  <a:gd name="connsiteY0" fmla="*/ 15172 h 85668"/>
                  <a:gd name="connsiteX1" fmla="*/ 56466 w 73348"/>
                  <a:gd name="connsiteY1" fmla="*/ 4106 h 85668"/>
                  <a:gd name="connsiteX2" fmla="*/ 37644 w 73348"/>
                  <a:gd name="connsiteY2" fmla="*/ 0 h 85668"/>
                  <a:gd name="connsiteX3" fmla="*/ 17567 w 73348"/>
                  <a:gd name="connsiteY3" fmla="*/ 4905 h 85668"/>
                  <a:gd name="connsiteX4" fmla="*/ 4449 w 73348"/>
                  <a:gd name="connsiteY4" fmla="*/ 17225 h 85668"/>
                  <a:gd name="connsiteX5" fmla="*/ 0 w 73348"/>
                  <a:gd name="connsiteY5" fmla="*/ 31826 h 85668"/>
                  <a:gd name="connsiteX6" fmla="*/ 2738 w 73348"/>
                  <a:gd name="connsiteY6" fmla="*/ 38214 h 85668"/>
                  <a:gd name="connsiteX7" fmla="*/ 9582 w 73348"/>
                  <a:gd name="connsiteY7" fmla="*/ 41180 h 85668"/>
                  <a:gd name="connsiteX8" fmla="*/ 18822 w 73348"/>
                  <a:gd name="connsiteY8" fmla="*/ 32739 h 85668"/>
                  <a:gd name="connsiteX9" fmla="*/ 25438 w 73348"/>
                  <a:gd name="connsiteY9" fmla="*/ 19963 h 85668"/>
                  <a:gd name="connsiteX10" fmla="*/ 37644 w 73348"/>
                  <a:gd name="connsiteY10" fmla="*/ 15628 h 85668"/>
                  <a:gd name="connsiteX11" fmla="*/ 49165 w 73348"/>
                  <a:gd name="connsiteY11" fmla="*/ 19963 h 85668"/>
                  <a:gd name="connsiteX12" fmla="*/ 53615 w 73348"/>
                  <a:gd name="connsiteY12" fmla="*/ 30572 h 85668"/>
                  <a:gd name="connsiteX13" fmla="*/ 52131 w 73348"/>
                  <a:gd name="connsiteY13" fmla="*/ 36503 h 85668"/>
                  <a:gd name="connsiteX14" fmla="*/ 48481 w 73348"/>
                  <a:gd name="connsiteY14" fmla="*/ 41408 h 85668"/>
                  <a:gd name="connsiteX15" fmla="*/ 41637 w 73348"/>
                  <a:gd name="connsiteY15" fmla="*/ 47911 h 85668"/>
                  <a:gd name="connsiteX16" fmla="*/ 33081 w 73348"/>
                  <a:gd name="connsiteY16" fmla="*/ 56352 h 85668"/>
                  <a:gd name="connsiteX17" fmla="*/ 28062 w 73348"/>
                  <a:gd name="connsiteY17" fmla="*/ 64565 h 85668"/>
                  <a:gd name="connsiteX18" fmla="*/ 26123 w 73348"/>
                  <a:gd name="connsiteY18" fmla="*/ 75630 h 85668"/>
                  <a:gd name="connsiteX19" fmla="*/ 28632 w 73348"/>
                  <a:gd name="connsiteY19" fmla="*/ 83159 h 85668"/>
                  <a:gd name="connsiteX20" fmla="*/ 34906 w 73348"/>
                  <a:gd name="connsiteY20" fmla="*/ 85669 h 85668"/>
                  <a:gd name="connsiteX21" fmla="*/ 43462 w 73348"/>
                  <a:gd name="connsiteY21" fmla="*/ 78026 h 85668"/>
                  <a:gd name="connsiteX22" fmla="*/ 44717 w 73348"/>
                  <a:gd name="connsiteY22" fmla="*/ 72665 h 85668"/>
                  <a:gd name="connsiteX23" fmla="*/ 45857 w 73348"/>
                  <a:gd name="connsiteY23" fmla="*/ 69584 h 85668"/>
                  <a:gd name="connsiteX24" fmla="*/ 48139 w 73348"/>
                  <a:gd name="connsiteY24" fmla="*/ 66276 h 85668"/>
                  <a:gd name="connsiteX25" fmla="*/ 52131 w 73348"/>
                  <a:gd name="connsiteY25" fmla="*/ 62055 h 85668"/>
                  <a:gd name="connsiteX26" fmla="*/ 64793 w 73348"/>
                  <a:gd name="connsiteY26" fmla="*/ 50078 h 85668"/>
                  <a:gd name="connsiteX27" fmla="*/ 70839 w 73348"/>
                  <a:gd name="connsiteY27" fmla="*/ 41637 h 85668"/>
                  <a:gd name="connsiteX28" fmla="*/ 73349 w 73348"/>
                  <a:gd name="connsiteY28" fmla="*/ 30343 h 85668"/>
                  <a:gd name="connsiteX29" fmla="*/ 68900 w 73348"/>
                  <a:gd name="connsiteY29" fmla="*/ 15172 h 8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3348" h="85668">
                    <a:moveTo>
                      <a:pt x="69014" y="15172"/>
                    </a:moveTo>
                    <a:cubicBezTo>
                      <a:pt x="66048" y="10495"/>
                      <a:pt x="61828" y="6844"/>
                      <a:pt x="56466" y="4106"/>
                    </a:cubicBezTo>
                    <a:cubicBezTo>
                      <a:pt x="50991" y="1369"/>
                      <a:pt x="44717" y="0"/>
                      <a:pt x="37644" y="0"/>
                    </a:cubicBezTo>
                    <a:cubicBezTo>
                      <a:pt x="30001" y="0"/>
                      <a:pt x="23271" y="1597"/>
                      <a:pt x="17567" y="4905"/>
                    </a:cubicBezTo>
                    <a:cubicBezTo>
                      <a:pt x="11864" y="8213"/>
                      <a:pt x="7415" y="12320"/>
                      <a:pt x="4449" y="17225"/>
                    </a:cubicBezTo>
                    <a:cubicBezTo>
                      <a:pt x="1483" y="22130"/>
                      <a:pt x="0" y="27035"/>
                      <a:pt x="0" y="31826"/>
                    </a:cubicBezTo>
                    <a:cubicBezTo>
                      <a:pt x="0" y="34108"/>
                      <a:pt x="912" y="36275"/>
                      <a:pt x="2738" y="38214"/>
                    </a:cubicBezTo>
                    <a:cubicBezTo>
                      <a:pt x="4563" y="40154"/>
                      <a:pt x="6844" y="41180"/>
                      <a:pt x="9582" y="41180"/>
                    </a:cubicBezTo>
                    <a:cubicBezTo>
                      <a:pt x="14145" y="41180"/>
                      <a:pt x="17225" y="38443"/>
                      <a:pt x="18822" y="32739"/>
                    </a:cubicBezTo>
                    <a:cubicBezTo>
                      <a:pt x="20647" y="27149"/>
                      <a:pt x="22815" y="22815"/>
                      <a:pt x="25438" y="19963"/>
                    </a:cubicBezTo>
                    <a:cubicBezTo>
                      <a:pt x="28062" y="17111"/>
                      <a:pt x="32169" y="15628"/>
                      <a:pt x="37644" y="15628"/>
                    </a:cubicBezTo>
                    <a:cubicBezTo>
                      <a:pt x="42321" y="15628"/>
                      <a:pt x="46199" y="17111"/>
                      <a:pt x="49165" y="19963"/>
                    </a:cubicBezTo>
                    <a:cubicBezTo>
                      <a:pt x="52131" y="22815"/>
                      <a:pt x="53615" y="26351"/>
                      <a:pt x="53615" y="30572"/>
                    </a:cubicBezTo>
                    <a:cubicBezTo>
                      <a:pt x="53615" y="32739"/>
                      <a:pt x="53158" y="34678"/>
                      <a:pt x="52131" y="36503"/>
                    </a:cubicBezTo>
                    <a:cubicBezTo>
                      <a:pt x="51105" y="38328"/>
                      <a:pt x="49964" y="39926"/>
                      <a:pt x="48481" y="41408"/>
                    </a:cubicBezTo>
                    <a:cubicBezTo>
                      <a:pt x="47112" y="42891"/>
                      <a:pt x="44831" y="45059"/>
                      <a:pt x="41637" y="47911"/>
                    </a:cubicBezTo>
                    <a:cubicBezTo>
                      <a:pt x="38100" y="51105"/>
                      <a:pt x="35134" y="53956"/>
                      <a:pt x="33081" y="56352"/>
                    </a:cubicBezTo>
                    <a:cubicBezTo>
                      <a:pt x="31028" y="58748"/>
                      <a:pt x="29317" y="61485"/>
                      <a:pt x="28062" y="64565"/>
                    </a:cubicBezTo>
                    <a:cubicBezTo>
                      <a:pt x="26807" y="67645"/>
                      <a:pt x="26123" y="71410"/>
                      <a:pt x="26123" y="75630"/>
                    </a:cubicBezTo>
                    <a:cubicBezTo>
                      <a:pt x="26123" y="78938"/>
                      <a:pt x="27035" y="81448"/>
                      <a:pt x="28632" y="83159"/>
                    </a:cubicBezTo>
                    <a:cubicBezTo>
                      <a:pt x="30229" y="84870"/>
                      <a:pt x="32397" y="85669"/>
                      <a:pt x="34906" y="85669"/>
                    </a:cubicBezTo>
                    <a:cubicBezTo>
                      <a:pt x="39698" y="85669"/>
                      <a:pt x="42549" y="83045"/>
                      <a:pt x="43462" y="78026"/>
                    </a:cubicBezTo>
                    <a:cubicBezTo>
                      <a:pt x="44032" y="75402"/>
                      <a:pt x="44488" y="73691"/>
                      <a:pt x="44717" y="72665"/>
                    </a:cubicBezTo>
                    <a:cubicBezTo>
                      <a:pt x="44945" y="71638"/>
                      <a:pt x="45401" y="70611"/>
                      <a:pt x="45857" y="69584"/>
                    </a:cubicBezTo>
                    <a:cubicBezTo>
                      <a:pt x="46314" y="68558"/>
                      <a:pt x="47112" y="67417"/>
                      <a:pt x="48139" y="66276"/>
                    </a:cubicBezTo>
                    <a:cubicBezTo>
                      <a:pt x="49165" y="65136"/>
                      <a:pt x="50534" y="63653"/>
                      <a:pt x="52131" y="62055"/>
                    </a:cubicBezTo>
                    <a:cubicBezTo>
                      <a:pt x="58177" y="56466"/>
                      <a:pt x="62398" y="52360"/>
                      <a:pt x="64793" y="50078"/>
                    </a:cubicBezTo>
                    <a:cubicBezTo>
                      <a:pt x="67075" y="47796"/>
                      <a:pt x="69128" y="44944"/>
                      <a:pt x="70839" y="41637"/>
                    </a:cubicBezTo>
                    <a:cubicBezTo>
                      <a:pt x="72550" y="38443"/>
                      <a:pt x="73349" y="34678"/>
                      <a:pt x="73349" y="30343"/>
                    </a:cubicBezTo>
                    <a:cubicBezTo>
                      <a:pt x="73349" y="24868"/>
                      <a:pt x="71866" y="19849"/>
                      <a:pt x="68900" y="15172"/>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48" name="Freeform: Shape 247">
                <a:extLst>
                  <a:ext uri="{FF2B5EF4-FFF2-40B4-BE49-F238E27FC236}">
                    <a16:creationId xmlns:a16="http://schemas.microsoft.com/office/drawing/2014/main" id="{8A411653-698A-9475-B70E-A95463B8D010}"/>
                  </a:ext>
                </a:extLst>
              </p:cNvPr>
              <p:cNvSpPr/>
              <p:nvPr/>
            </p:nvSpPr>
            <p:spPr>
              <a:xfrm>
                <a:off x="4909396" y="3881537"/>
                <a:ext cx="21788" cy="22258"/>
              </a:xfrm>
              <a:custGeom>
                <a:avLst/>
                <a:gdLst>
                  <a:gd name="connsiteX0" fmla="*/ 3194 w 21788"/>
                  <a:gd name="connsiteY0" fmla="*/ 3208 h 22258"/>
                  <a:gd name="connsiteX1" fmla="*/ 0 w 21788"/>
                  <a:gd name="connsiteY1" fmla="*/ 11080 h 22258"/>
                  <a:gd name="connsiteX2" fmla="*/ 3308 w 21788"/>
                  <a:gd name="connsiteY2" fmla="*/ 19293 h 22258"/>
                  <a:gd name="connsiteX3" fmla="*/ 11065 w 21788"/>
                  <a:gd name="connsiteY3" fmla="*/ 22258 h 22258"/>
                  <a:gd name="connsiteX4" fmla="*/ 18594 w 21788"/>
                  <a:gd name="connsiteY4" fmla="*/ 19293 h 22258"/>
                  <a:gd name="connsiteX5" fmla="*/ 21788 w 21788"/>
                  <a:gd name="connsiteY5" fmla="*/ 11080 h 22258"/>
                  <a:gd name="connsiteX6" fmla="*/ 18708 w 21788"/>
                  <a:gd name="connsiteY6" fmla="*/ 3208 h 22258"/>
                  <a:gd name="connsiteX7" fmla="*/ 3194 w 21788"/>
                  <a:gd name="connsiteY7" fmla="*/ 3208 h 2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88" h="22258">
                    <a:moveTo>
                      <a:pt x="3194" y="3208"/>
                    </a:moveTo>
                    <a:cubicBezTo>
                      <a:pt x="1027" y="5376"/>
                      <a:pt x="0" y="7999"/>
                      <a:pt x="0" y="11080"/>
                    </a:cubicBezTo>
                    <a:cubicBezTo>
                      <a:pt x="0" y="14616"/>
                      <a:pt x="1141" y="17353"/>
                      <a:pt x="3308" y="19293"/>
                    </a:cubicBezTo>
                    <a:cubicBezTo>
                      <a:pt x="5476" y="21232"/>
                      <a:pt x="8099" y="22258"/>
                      <a:pt x="11065" y="22258"/>
                    </a:cubicBezTo>
                    <a:cubicBezTo>
                      <a:pt x="14031" y="22258"/>
                      <a:pt x="16427" y="21232"/>
                      <a:pt x="18594" y="19293"/>
                    </a:cubicBezTo>
                    <a:cubicBezTo>
                      <a:pt x="20761" y="17353"/>
                      <a:pt x="21788" y="14502"/>
                      <a:pt x="21788" y="11080"/>
                    </a:cubicBezTo>
                    <a:cubicBezTo>
                      <a:pt x="21788" y="7999"/>
                      <a:pt x="20761" y="5262"/>
                      <a:pt x="18708" y="3208"/>
                    </a:cubicBezTo>
                    <a:cubicBezTo>
                      <a:pt x="14488" y="-1126"/>
                      <a:pt x="7415" y="-1012"/>
                      <a:pt x="3194" y="3208"/>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grpSp>
      </p:grpSp>
      <p:cxnSp>
        <p:nvCxnSpPr>
          <p:cNvPr id="175" name="Straight Connector 174">
            <a:extLst>
              <a:ext uri="{FF2B5EF4-FFF2-40B4-BE49-F238E27FC236}">
                <a16:creationId xmlns:a16="http://schemas.microsoft.com/office/drawing/2014/main" id="{7E7BD00E-597F-03A6-2E81-F93F726492FA}"/>
              </a:ext>
              <a:ext uri="{C183D7F6-B498-43B3-948B-1728B52AA6E4}">
                <adec:decorative xmlns:adec="http://schemas.microsoft.com/office/drawing/2017/decorative" val="1"/>
              </a:ext>
            </a:extLst>
          </p:cNvPr>
          <p:cNvCxnSpPr>
            <a:cxnSpLocks/>
            <a:stCxn id="198" idx="4"/>
          </p:cNvCxnSpPr>
          <p:nvPr/>
        </p:nvCxnSpPr>
        <p:spPr>
          <a:xfrm>
            <a:off x="6846781"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176" name="Graphic 10">
            <a:extLst>
              <a:ext uri="{FF2B5EF4-FFF2-40B4-BE49-F238E27FC236}">
                <a16:creationId xmlns:a16="http://schemas.microsoft.com/office/drawing/2014/main" id="{BBD0A905-E0EC-3734-0529-E0D6F1249295}"/>
              </a:ext>
              <a:ext uri="{C183D7F6-B498-43B3-948B-1728B52AA6E4}">
                <adec:decorative xmlns:adec="http://schemas.microsoft.com/office/drawing/2017/decorative" val="1"/>
              </a:ext>
            </a:extLst>
          </p:cNvPr>
          <p:cNvGrpSpPr/>
          <p:nvPr/>
        </p:nvGrpSpPr>
        <p:grpSpPr>
          <a:xfrm>
            <a:off x="4003080" y="2641523"/>
            <a:ext cx="217545" cy="245261"/>
            <a:chOff x="4788250" y="4735731"/>
            <a:chExt cx="266018" cy="299898"/>
          </a:xfrm>
          <a:solidFill>
            <a:schemeClr val="accent5"/>
          </a:solidFill>
        </p:grpSpPr>
        <p:sp>
          <p:nvSpPr>
            <p:cNvPr id="235" name="Freeform: Shape 234">
              <a:extLst>
                <a:ext uri="{FF2B5EF4-FFF2-40B4-BE49-F238E27FC236}">
                  <a16:creationId xmlns:a16="http://schemas.microsoft.com/office/drawing/2014/main" id="{FD08F3BB-CBA3-77D0-A334-AEA03249D24D}"/>
                </a:ext>
              </a:extLst>
            </p:cNvPr>
            <p:cNvSpPr/>
            <p:nvPr/>
          </p:nvSpPr>
          <p:spPr>
            <a:xfrm>
              <a:off x="4864679" y="4838967"/>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3650"/>
                    <a:pt x="0" y="5476"/>
                  </a:cubicBezTo>
                  <a:cubicBezTo>
                    <a:pt x="0" y="9126"/>
                    <a:pt x="1711" y="10951"/>
                    <a:pt x="5247" y="10951"/>
                  </a:cubicBezTo>
                  <a:lnTo>
                    <a:pt x="59774" y="10951"/>
                  </a:lnTo>
                  <a:cubicBezTo>
                    <a:pt x="63310" y="10951"/>
                    <a:pt x="65021" y="9126"/>
                    <a:pt x="65021" y="5476"/>
                  </a:cubicBezTo>
                  <a:cubicBezTo>
                    <a:pt x="65021" y="3650"/>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36" name="Freeform: Shape 235">
              <a:extLst>
                <a:ext uri="{FF2B5EF4-FFF2-40B4-BE49-F238E27FC236}">
                  <a16:creationId xmlns:a16="http://schemas.microsoft.com/office/drawing/2014/main" id="{D2C882F3-3829-1EE0-AA1A-1FFC5CE6EFD3}"/>
                </a:ext>
              </a:extLst>
            </p:cNvPr>
            <p:cNvSpPr/>
            <p:nvPr/>
          </p:nvSpPr>
          <p:spPr>
            <a:xfrm>
              <a:off x="4864679" y="4873531"/>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1825"/>
                    <a:pt x="0" y="5476"/>
                  </a:cubicBezTo>
                  <a:cubicBezTo>
                    <a:pt x="0" y="7301"/>
                    <a:pt x="1711" y="10951"/>
                    <a:pt x="5247" y="10951"/>
                  </a:cubicBezTo>
                  <a:lnTo>
                    <a:pt x="59774" y="10951"/>
                  </a:lnTo>
                  <a:cubicBezTo>
                    <a:pt x="63310" y="10951"/>
                    <a:pt x="65021" y="7301"/>
                    <a:pt x="65021" y="5476"/>
                  </a:cubicBezTo>
                  <a:cubicBezTo>
                    <a:pt x="65021" y="1825"/>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37" name="Freeform: Shape 236">
              <a:extLst>
                <a:ext uri="{FF2B5EF4-FFF2-40B4-BE49-F238E27FC236}">
                  <a16:creationId xmlns:a16="http://schemas.microsoft.com/office/drawing/2014/main" id="{DB26E03A-4D7E-EBBA-CF48-A2135B4D8B81}"/>
                </a:ext>
              </a:extLst>
            </p:cNvPr>
            <p:cNvSpPr/>
            <p:nvPr/>
          </p:nvSpPr>
          <p:spPr>
            <a:xfrm>
              <a:off x="4864679" y="4905016"/>
              <a:ext cx="65021" cy="10038"/>
            </a:xfrm>
            <a:custGeom>
              <a:avLst/>
              <a:gdLst>
                <a:gd name="connsiteX0" fmla="*/ 59774 w 65021"/>
                <a:gd name="connsiteY0" fmla="*/ 0 h 10038"/>
                <a:gd name="connsiteX1" fmla="*/ 5247 w 65021"/>
                <a:gd name="connsiteY1" fmla="*/ 0 h 10038"/>
                <a:gd name="connsiteX2" fmla="*/ 0 w 65021"/>
                <a:gd name="connsiteY2" fmla="*/ 5019 h 10038"/>
                <a:gd name="connsiteX3" fmla="*/ 5247 w 65021"/>
                <a:gd name="connsiteY3" fmla="*/ 10038 h 10038"/>
                <a:gd name="connsiteX4" fmla="*/ 59774 w 65021"/>
                <a:gd name="connsiteY4" fmla="*/ 10038 h 10038"/>
                <a:gd name="connsiteX5" fmla="*/ 65021 w 65021"/>
                <a:gd name="connsiteY5" fmla="*/ 5019 h 10038"/>
                <a:gd name="connsiteX6" fmla="*/ 59774 w 65021"/>
                <a:gd name="connsiteY6" fmla="*/ 0 h 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038">
                  <a:moveTo>
                    <a:pt x="59774" y="0"/>
                  </a:moveTo>
                  <a:lnTo>
                    <a:pt x="5247" y="0"/>
                  </a:lnTo>
                  <a:cubicBezTo>
                    <a:pt x="1711" y="0"/>
                    <a:pt x="0" y="3308"/>
                    <a:pt x="0" y="5019"/>
                  </a:cubicBezTo>
                  <a:cubicBezTo>
                    <a:pt x="0" y="8327"/>
                    <a:pt x="1711" y="10038"/>
                    <a:pt x="5247" y="10038"/>
                  </a:cubicBezTo>
                  <a:lnTo>
                    <a:pt x="59774" y="10038"/>
                  </a:lnTo>
                  <a:cubicBezTo>
                    <a:pt x="63310" y="10038"/>
                    <a:pt x="65021" y="8327"/>
                    <a:pt x="65021" y="5019"/>
                  </a:cubicBezTo>
                  <a:cubicBezTo>
                    <a:pt x="65021" y="3308"/>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38" name="Freeform: Shape 237">
              <a:extLst>
                <a:ext uri="{FF2B5EF4-FFF2-40B4-BE49-F238E27FC236}">
                  <a16:creationId xmlns:a16="http://schemas.microsoft.com/office/drawing/2014/main" id="{A81F09C7-ACEA-B9CC-853B-2D8C54479EDD}"/>
                </a:ext>
              </a:extLst>
            </p:cNvPr>
            <p:cNvSpPr/>
            <p:nvPr/>
          </p:nvSpPr>
          <p:spPr>
            <a:xfrm>
              <a:off x="4829659" y="4835659"/>
              <a:ext cx="19164" cy="19164"/>
            </a:xfrm>
            <a:custGeom>
              <a:avLst/>
              <a:gdLst>
                <a:gd name="connsiteX0" fmla="*/ 9582 w 19164"/>
                <a:gd name="connsiteY0" fmla="*/ 0 h 19164"/>
                <a:gd name="connsiteX1" fmla="*/ 0 w 19164"/>
                <a:gd name="connsiteY1" fmla="*/ 9582 h 19164"/>
                <a:gd name="connsiteX2" fmla="*/ 9582 w 19164"/>
                <a:gd name="connsiteY2" fmla="*/ 19165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5"/>
                    <a:pt x="9582" y="19165"/>
                  </a:cubicBezTo>
                  <a:cubicBezTo>
                    <a:pt x="14829" y="19165"/>
                    <a:pt x="19164" y="14830"/>
                    <a:pt x="19164" y="9582"/>
                  </a:cubicBezTo>
                  <a:cubicBezTo>
                    <a:pt x="19164" y="4335"/>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39" name="Freeform: Shape 238">
              <a:extLst>
                <a:ext uri="{FF2B5EF4-FFF2-40B4-BE49-F238E27FC236}">
                  <a16:creationId xmlns:a16="http://schemas.microsoft.com/office/drawing/2014/main" id="{40634818-255A-85F5-5C13-28E723BF6597}"/>
                </a:ext>
              </a:extLst>
            </p:cNvPr>
            <p:cNvSpPr/>
            <p:nvPr/>
          </p:nvSpPr>
          <p:spPr>
            <a:xfrm>
              <a:off x="4829659" y="4868512"/>
              <a:ext cx="19164" cy="19164"/>
            </a:xfrm>
            <a:custGeom>
              <a:avLst/>
              <a:gdLst>
                <a:gd name="connsiteX0" fmla="*/ 9582 w 19164"/>
                <a:gd name="connsiteY0" fmla="*/ 0 h 19164"/>
                <a:gd name="connsiteX1" fmla="*/ 0 w 19164"/>
                <a:gd name="connsiteY1" fmla="*/ 9582 h 19164"/>
                <a:gd name="connsiteX2" fmla="*/ 9582 w 19164"/>
                <a:gd name="connsiteY2" fmla="*/ 19164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4"/>
                    <a:pt x="9582" y="19164"/>
                  </a:cubicBezTo>
                  <a:cubicBezTo>
                    <a:pt x="14829" y="19164"/>
                    <a:pt x="19164" y="14830"/>
                    <a:pt x="19164" y="9582"/>
                  </a:cubicBezTo>
                  <a:cubicBezTo>
                    <a:pt x="19164" y="4335"/>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40" name="Freeform: Shape 239">
              <a:extLst>
                <a:ext uri="{FF2B5EF4-FFF2-40B4-BE49-F238E27FC236}">
                  <a16:creationId xmlns:a16="http://schemas.microsoft.com/office/drawing/2014/main" id="{101245B8-8108-0DD7-ADD2-79C5F26A91D9}"/>
                </a:ext>
              </a:extLst>
            </p:cNvPr>
            <p:cNvSpPr/>
            <p:nvPr/>
          </p:nvSpPr>
          <p:spPr>
            <a:xfrm>
              <a:off x="4829659" y="4901707"/>
              <a:ext cx="19164" cy="18365"/>
            </a:xfrm>
            <a:custGeom>
              <a:avLst/>
              <a:gdLst>
                <a:gd name="connsiteX0" fmla="*/ 9582 w 19164"/>
                <a:gd name="connsiteY0" fmla="*/ 0 h 18365"/>
                <a:gd name="connsiteX1" fmla="*/ 0 w 19164"/>
                <a:gd name="connsiteY1" fmla="*/ 9240 h 18365"/>
                <a:gd name="connsiteX2" fmla="*/ 9582 w 19164"/>
                <a:gd name="connsiteY2" fmla="*/ 18366 h 18365"/>
                <a:gd name="connsiteX3" fmla="*/ 19164 w 19164"/>
                <a:gd name="connsiteY3" fmla="*/ 9240 h 18365"/>
                <a:gd name="connsiteX4" fmla="*/ 9582 w 19164"/>
                <a:gd name="connsiteY4" fmla="*/ 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8365">
                  <a:moveTo>
                    <a:pt x="9582" y="0"/>
                  </a:moveTo>
                  <a:cubicBezTo>
                    <a:pt x="4335" y="0"/>
                    <a:pt x="0" y="4106"/>
                    <a:pt x="0" y="9240"/>
                  </a:cubicBezTo>
                  <a:cubicBezTo>
                    <a:pt x="0" y="14373"/>
                    <a:pt x="4335" y="18366"/>
                    <a:pt x="9582" y="18366"/>
                  </a:cubicBezTo>
                  <a:cubicBezTo>
                    <a:pt x="14829" y="18366"/>
                    <a:pt x="19164" y="14259"/>
                    <a:pt x="19164" y="9240"/>
                  </a:cubicBezTo>
                  <a:cubicBezTo>
                    <a:pt x="19164" y="4221"/>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41" name="Freeform: Shape 240">
              <a:extLst>
                <a:ext uri="{FF2B5EF4-FFF2-40B4-BE49-F238E27FC236}">
                  <a16:creationId xmlns:a16="http://schemas.microsoft.com/office/drawing/2014/main" id="{BA9C57A4-03EC-6FAC-552E-0E57F1808B7D}"/>
                </a:ext>
              </a:extLst>
            </p:cNvPr>
            <p:cNvSpPr/>
            <p:nvPr/>
          </p:nvSpPr>
          <p:spPr>
            <a:xfrm>
              <a:off x="4788250" y="4735731"/>
              <a:ext cx="192783" cy="265904"/>
            </a:xfrm>
            <a:custGeom>
              <a:avLst/>
              <a:gdLst>
                <a:gd name="connsiteX0" fmla="*/ 127420 w 192783"/>
                <a:gd name="connsiteY0" fmla="*/ 255295 h 265904"/>
                <a:gd name="connsiteX1" fmla="*/ 26465 w 192783"/>
                <a:gd name="connsiteY1" fmla="*/ 255295 h 265904"/>
                <a:gd name="connsiteX2" fmla="*/ 12434 w 192783"/>
                <a:gd name="connsiteY2" fmla="*/ 241265 h 265904"/>
                <a:gd name="connsiteX3" fmla="*/ 12434 w 192783"/>
                <a:gd name="connsiteY3" fmla="*/ 66732 h 265904"/>
                <a:gd name="connsiteX4" fmla="*/ 26465 w 192783"/>
                <a:gd name="connsiteY4" fmla="*/ 50877 h 265904"/>
                <a:gd name="connsiteX5" fmla="*/ 43690 w 192783"/>
                <a:gd name="connsiteY5" fmla="*/ 50877 h 265904"/>
                <a:gd name="connsiteX6" fmla="*/ 43690 w 192783"/>
                <a:gd name="connsiteY6" fmla="*/ 52588 h 265904"/>
                <a:gd name="connsiteX7" fmla="*/ 56010 w 192783"/>
                <a:gd name="connsiteY7" fmla="*/ 64908 h 265904"/>
                <a:gd name="connsiteX8" fmla="*/ 136888 w 192783"/>
                <a:gd name="connsiteY8" fmla="*/ 64908 h 265904"/>
                <a:gd name="connsiteX9" fmla="*/ 149207 w 192783"/>
                <a:gd name="connsiteY9" fmla="*/ 52588 h 265904"/>
                <a:gd name="connsiteX10" fmla="*/ 149207 w 192783"/>
                <a:gd name="connsiteY10" fmla="*/ 50877 h 265904"/>
                <a:gd name="connsiteX11" fmla="*/ 166433 w 192783"/>
                <a:gd name="connsiteY11" fmla="*/ 50877 h 265904"/>
                <a:gd name="connsiteX12" fmla="*/ 180464 w 192783"/>
                <a:gd name="connsiteY12" fmla="*/ 66732 h 265904"/>
                <a:gd name="connsiteX13" fmla="*/ 180464 w 192783"/>
                <a:gd name="connsiteY13" fmla="*/ 159474 h 265904"/>
                <a:gd name="connsiteX14" fmla="*/ 192783 w 192783"/>
                <a:gd name="connsiteY14" fmla="*/ 156622 h 265904"/>
                <a:gd name="connsiteX15" fmla="*/ 192783 w 192783"/>
                <a:gd name="connsiteY15" fmla="*/ 66732 h 265904"/>
                <a:gd name="connsiteX16" fmla="*/ 166433 w 192783"/>
                <a:gd name="connsiteY16" fmla="*/ 40382 h 265904"/>
                <a:gd name="connsiteX17" fmla="*/ 149207 w 192783"/>
                <a:gd name="connsiteY17" fmla="*/ 40382 h 265904"/>
                <a:gd name="connsiteX18" fmla="*/ 149207 w 192783"/>
                <a:gd name="connsiteY18" fmla="*/ 26351 h 265904"/>
                <a:gd name="connsiteX19" fmla="*/ 136888 w 192783"/>
                <a:gd name="connsiteY19" fmla="*/ 14031 h 265904"/>
                <a:gd name="connsiteX20" fmla="*/ 108712 w 192783"/>
                <a:gd name="connsiteY20" fmla="*/ 14031 h 265904"/>
                <a:gd name="connsiteX21" fmla="*/ 108712 w 192783"/>
                <a:gd name="connsiteY21" fmla="*/ 12320 h 265904"/>
                <a:gd name="connsiteX22" fmla="*/ 96392 w 192783"/>
                <a:gd name="connsiteY22" fmla="*/ 0 h 265904"/>
                <a:gd name="connsiteX23" fmla="*/ 84072 w 192783"/>
                <a:gd name="connsiteY23" fmla="*/ 12320 h 265904"/>
                <a:gd name="connsiteX24" fmla="*/ 84072 w 192783"/>
                <a:gd name="connsiteY24" fmla="*/ 14031 h 265904"/>
                <a:gd name="connsiteX25" fmla="*/ 55896 w 192783"/>
                <a:gd name="connsiteY25" fmla="*/ 14031 h 265904"/>
                <a:gd name="connsiteX26" fmla="*/ 43576 w 192783"/>
                <a:gd name="connsiteY26" fmla="*/ 26351 h 265904"/>
                <a:gd name="connsiteX27" fmla="*/ 43576 w 192783"/>
                <a:gd name="connsiteY27" fmla="*/ 40382 h 265904"/>
                <a:gd name="connsiteX28" fmla="*/ 26351 w 192783"/>
                <a:gd name="connsiteY28" fmla="*/ 40382 h 265904"/>
                <a:gd name="connsiteX29" fmla="*/ 0 w 192783"/>
                <a:gd name="connsiteY29" fmla="*/ 66732 h 265904"/>
                <a:gd name="connsiteX30" fmla="*/ 0 w 192783"/>
                <a:gd name="connsiteY30" fmla="*/ 241265 h 265904"/>
                <a:gd name="connsiteX31" fmla="*/ 26351 w 192783"/>
                <a:gd name="connsiteY31" fmla="*/ 265904 h 265904"/>
                <a:gd name="connsiteX32" fmla="*/ 130385 w 192783"/>
                <a:gd name="connsiteY32" fmla="*/ 265904 h 265904"/>
                <a:gd name="connsiteX33" fmla="*/ 127306 w 192783"/>
                <a:gd name="connsiteY33" fmla="*/ 255295 h 265904"/>
                <a:gd name="connsiteX34" fmla="*/ 54185 w 192783"/>
                <a:gd name="connsiteY34" fmla="*/ 24526 h 265904"/>
                <a:gd name="connsiteX35" fmla="*/ 138599 w 192783"/>
                <a:gd name="connsiteY35" fmla="*/ 24526 h 265904"/>
                <a:gd name="connsiteX36" fmla="*/ 138599 w 192783"/>
                <a:gd name="connsiteY36" fmla="*/ 54413 h 265904"/>
                <a:gd name="connsiteX37" fmla="*/ 54185 w 192783"/>
                <a:gd name="connsiteY37" fmla="*/ 54413 h 265904"/>
                <a:gd name="connsiteX38" fmla="*/ 54185 w 192783"/>
                <a:gd name="connsiteY38" fmla="*/ 24526 h 26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783" h="265904">
                  <a:moveTo>
                    <a:pt x="127420" y="255295"/>
                  </a:moveTo>
                  <a:lnTo>
                    <a:pt x="26465" y="255295"/>
                  </a:lnTo>
                  <a:cubicBezTo>
                    <a:pt x="17681" y="255295"/>
                    <a:pt x="12434" y="248223"/>
                    <a:pt x="12434" y="241265"/>
                  </a:cubicBezTo>
                  <a:lnTo>
                    <a:pt x="12434" y="66732"/>
                  </a:lnTo>
                  <a:cubicBezTo>
                    <a:pt x="12434" y="57949"/>
                    <a:pt x="17681" y="50877"/>
                    <a:pt x="26465" y="50877"/>
                  </a:cubicBezTo>
                  <a:lnTo>
                    <a:pt x="43690" y="50877"/>
                  </a:lnTo>
                  <a:lnTo>
                    <a:pt x="43690" y="52588"/>
                  </a:lnTo>
                  <a:cubicBezTo>
                    <a:pt x="43690" y="59660"/>
                    <a:pt x="48937" y="64908"/>
                    <a:pt x="56010" y="64908"/>
                  </a:cubicBezTo>
                  <a:lnTo>
                    <a:pt x="136888" y="64908"/>
                  </a:lnTo>
                  <a:cubicBezTo>
                    <a:pt x="143960" y="64908"/>
                    <a:pt x="149207" y="59660"/>
                    <a:pt x="149207" y="52588"/>
                  </a:cubicBezTo>
                  <a:lnTo>
                    <a:pt x="149207" y="50877"/>
                  </a:lnTo>
                  <a:lnTo>
                    <a:pt x="166433" y="50877"/>
                  </a:lnTo>
                  <a:cubicBezTo>
                    <a:pt x="175216" y="50877"/>
                    <a:pt x="180464" y="57949"/>
                    <a:pt x="180464" y="66732"/>
                  </a:cubicBezTo>
                  <a:lnTo>
                    <a:pt x="180464" y="159474"/>
                  </a:lnTo>
                  <a:lnTo>
                    <a:pt x="192783" y="156622"/>
                  </a:lnTo>
                  <a:lnTo>
                    <a:pt x="192783" y="66732"/>
                  </a:lnTo>
                  <a:cubicBezTo>
                    <a:pt x="192783" y="52702"/>
                    <a:pt x="180464" y="40382"/>
                    <a:pt x="166433" y="40382"/>
                  </a:cubicBezTo>
                  <a:lnTo>
                    <a:pt x="149207" y="40382"/>
                  </a:lnTo>
                  <a:lnTo>
                    <a:pt x="149207" y="26351"/>
                  </a:lnTo>
                  <a:cubicBezTo>
                    <a:pt x="149207" y="19278"/>
                    <a:pt x="143960" y="14031"/>
                    <a:pt x="136888" y="14031"/>
                  </a:cubicBezTo>
                  <a:lnTo>
                    <a:pt x="108712" y="14031"/>
                  </a:lnTo>
                  <a:lnTo>
                    <a:pt x="108712" y="12320"/>
                  </a:lnTo>
                  <a:cubicBezTo>
                    <a:pt x="108712" y="5247"/>
                    <a:pt x="103464" y="0"/>
                    <a:pt x="96392" y="0"/>
                  </a:cubicBezTo>
                  <a:cubicBezTo>
                    <a:pt x="89319" y="0"/>
                    <a:pt x="84072" y="5247"/>
                    <a:pt x="84072" y="12320"/>
                  </a:cubicBezTo>
                  <a:lnTo>
                    <a:pt x="84072" y="14031"/>
                  </a:lnTo>
                  <a:lnTo>
                    <a:pt x="55896" y="14031"/>
                  </a:lnTo>
                  <a:cubicBezTo>
                    <a:pt x="48823" y="14031"/>
                    <a:pt x="43576" y="19278"/>
                    <a:pt x="43576" y="26351"/>
                  </a:cubicBezTo>
                  <a:lnTo>
                    <a:pt x="43576" y="40382"/>
                  </a:lnTo>
                  <a:lnTo>
                    <a:pt x="26351" y="40382"/>
                  </a:lnTo>
                  <a:cubicBezTo>
                    <a:pt x="12320" y="40382"/>
                    <a:pt x="0" y="52702"/>
                    <a:pt x="0" y="66732"/>
                  </a:cubicBezTo>
                  <a:lnTo>
                    <a:pt x="0" y="241265"/>
                  </a:lnTo>
                  <a:cubicBezTo>
                    <a:pt x="0" y="255295"/>
                    <a:pt x="12320" y="265904"/>
                    <a:pt x="26351" y="265904"/>
                  </a:cubicBezTo>
                  <a:lnTo>
                    <a:pt x="130385" y="265904"/>
                  </a:lnTo>
                  <a:lnTo>
                    <a:pt x="127306" y="255295"/>
                  </a:lnTo>
                  <a:close/>
                  <a:moveTo>
                    <a:pt x="54185" y="24526"/>
                  </a:moveTo>
                  <a:lnTo>
                    <a:pt x="138599" y="24526"/>
                  </a:lnTo>
                  <a:lnTo>
                    <a:pt x="138599" y="54413"/>
                  </a:lnTo>
                  <a:lnTo>
                    <a:pt x="54185" y="54413"/>
                  </a:lnTo>
                  <a:lnTo>
                    <a:pt x="54185" y="24526"/>
                  </a:ln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42" name="Freeform: Shape 241">
              <a:extLst>
                <a:ext uri="{FF2B5EF4-FFF2-40B4-BE49-F238E27FC236}">
                  <a16:creationId xmlns:a16="http://schemas.microsoft.com/office/drawing/2014/main" id="{C7F7F028-D9BF-3308-FDCD-2AE9836906B6}"/>
                </a:ext>
              </a:extLst>
            </p:cNvPr>
            <p:cNvSpPr/>
            <p:nvPr/>
          </p:nvSpPr>
          <p:spPr>
            <a:xfrm>
              <a:off x="4921259" y="4902620"/>
              <a:ext cx="133009" cy="133009"/>
            </a:xfrm>
            <a:custGeom>
              <a:avLst/>
              <a:gdLst>
                <a:gd name="connsiteX0" fmla="*/ 129473 w 133009"/>
                <a:gd name="connsiteY0" fmla="*/ 45059 h 133009"/>
                <a:gd name="connsiteX1" fmla="*/ 126849 w 133009"/>
                <a:gd name="connsiteY1" fmla="*/ 42321 h 133009"/>
                <a:gd name="connsiteX2" fmla="*/ 122971 w 133009"/>
                <a:gd name="connsiteY2" fmla="*/ 42321 h 133009"/>
                <a:gd name="connsiteX3" fmla="*/ 120119 w 133009"/>
                <a:gd name="connsiteY3" fmla="*/ 48823 h 133009"/>
                <a:gd name="connsiteX4" fmla="*/ 122971 w 133009"/>
                <a:gd name="connsiteY4" fmla="*/ 66619 h 133009"/>
                <a:gd name="connsiteX5" fmla="*/ 66504 w 133009"/>
                <a:gd name="connsiteY5" fmla="*/ 123085 h 133009"/>
                <a:gd name="connsiteX6" fmla="*/ 10038 w 133009"/>
                <a:gd name="connsiteY6" fmla="*/ 66619 h 133009"/>
                <a:gd name="connsiteX7" fmla="*/ 66504 w 133009"/>
                <a:gd name="connsiteY7" fmla="*/ 10153 h 133009"/>
                <a:gd name="connsiteX8" fmla="*/ 105974 w 133009"/>
                <a:gd name="connsiteY8" fmla="*/ 26237 h 133009"/>
                <a:gd name="connsiteX9" fmla="*/ 109510 w 133009"/>
                <a:gd name="connsiteY9" fmla="*/ 27834 h 133009"/>
                <a:gd name="connsiteX10" fmla="*/ 109510 w 133009"/>
                <a:gd name="connsiteY10" fmla="*/ 27834 h 133009"/>
                <a:gd name="connsiteX11" fmla="*/ 113046 w 133009"/>
                <a:gd name="connsiteY11" fmla="*/ 26465 h 133009"/>
                <a:gd name="connsiteX12" fmla="*/ 114643 w 133009"/>
                <a:gd name="connsiteY12" fmla="*/ 22929 h 133009"/>
                <a:gd name="connsiteX13" fmla="*/ 113275 w 133009"/>
                <a:gd name="connsiteY13" fmla="*/ 19278 h 133009"/>
                <a:gd name="connsiteX14" fmla="*/ 66504 w 133009"/>
                <a:gd name="connsiteY14" fmla="*/ 0 h 133009"/>
                <a:gd name="connsiteX15" fmla="*/ 0 w 133009"/>
                <a:gd name="connsiteY15" fmla="*/ 66505 h 133009"/>
                <a:gd name="connsiteX16" fmla="*/ 66504 w 133009"/>
                <a:gd name="connsiteY16" fmla="*/ 133009 h 133009"/>
                <a:gd name="connsiteX17" fmla="*/ 133009 w 133009"/>
                <a:gd name="connsiteY17" fmla="*/ 66505 h 133009"/>
                <a:gd name="connsiteX18" fmla="*/ 129473 w 133009"/>
                <a:gd name="connsiteY18" fmla="*/ 45059 h 13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009" h="133009">
                  <a:moveTo>
                    <a:pt x="129473" y="45059"/>
                  </a:moveTo>
                  <a:cubicBezTo>
                    <a:pt x="129017" y="43804"/>
                    <a:pt x="127990" y="42777"/>
                    <a:pt x="126849" y="42321"/>
                  </a:cubicBezTo>
                  <a:cubicBezTo>
                    <a:pt x="125595" y="41751"/>
                    <a:pt x="124225" y="41751"/>
                    <a:pt x="122971" y="42321"/>
                  </a:cubicBezTo>
                  <a:cubicBezTo>
                    <a:pt x="120347" y="43348"/>
                    <a:pt x="119092" y="46314"/>
                    <a:pt x="120119" y="48823"/>
                  </a:cubicBezTo>
                  <a:cubicBezTo>
                    <a:pt x="122743" y="55440"/>
                    <a:pt x="122971" y="59432"/>
                    <a:pt x="122971" y="66619"/>
                  </a:cubicBezTo>
                  <a:cubicBezTo>
                    <a:pt x="122971" y="97761"/>
                    <a:pt x="97647" y="123085"/>
                    <a:pt x="66504" y="123085"/>
                  </a:cubicBezTo>
                  <a:cubicBezTo>
                    <a:pt x="35363" y="123085"/>
                    <a:pt x="10038" y="97761"/>
                    <a:pt x="10038" y="66619"/>
                  </a:cubicBezTo>
                  <a:cubicBezTo>
                    <a:pt x="10038" y="35477"/>
                    <a:pt x="35363" y="10153"/>
                    <a:pt x="66504" y="10153"/>
                  </a:cubicBezTo>
                  <a:cubicBezTo>
                    <a:pt x="82133" y="10153"/>
                    <a:pt x="95251" y="14830"/>
                    <a:pt x="105974" y="26237"/>
                  </a:cubicBezTo>
                  <a:cubicBezTo>
                    <a:pt x="106886" y="27264"/>
                    <a:pt x="108141" y="27834"/>
                    <a:pt x="109510" y="27834"/>
                  </a:cubicBezTo>
                  <a:lnTo>
                    <a:pt x="109510" y="27834"/>
                  </a:lnTo>
                  <a:cubicBezTo>
                    <a:pt x="110879" y="27834"/>
                    <a:pt x="112134" y="27378"/>
                    <a:pt x="113046" y="26465"/>
                  </a:cubicBezTo>
                  <a:cubicBezTo>
                    <a:pt x="114073" y="25553"/>
                    <a:pt x="114643" y="24298"/>
                    <a:pt x="114643" y="22929"/>
                  </a:cubicBezTo>
                  <a:cubicBezTo>
                    <a:pt x="114643" y="21560"/>
                    <a:pt x="114187" y="20305"/>
                    <a:pt x="113275" y="19278"/>
                  </a:cubicBezTo>
                  <a:cubicBezTo>
                    <a:pt x="100613" y="5818"/>
                    <a:pt x="84870" y="0"/>
                    <a:pt x="66504" y="0"/>
                  </a:cubicBezTo>
                  <a:cubicBezTo>
                    <a:pt x="29773" y="0"/>
                    <a:pt x="0" y="29887"/>
                    <a:pt x="0" y="66505"/>
                  </a:cubicBezTo>
                  <a:cubicBezTo>
                    <a:pt x="0" y="103122"/>
                    <a:pt x="29887" y="133009"/>
                    <a:pt x="66504" y="133009"/>
                  </a:cubicBezTo>
                  <a:cubicBezTo>
                    <a:pt x="103122" y="133009"/>
                    <a:pt x="133009" y="103122"/>
                    <a:pt x="133009" y="66505"/>
                  </a:cubicBezTo>
                  <a:cubicBezTo>
                    <a:pt x="133009" y="58064"/>
                    <a:pt x="132553" y="52816"/>
                    <a:pt x="129473" y="45059"/>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43" name="Freeform: Shape 242">
              <a:extLst>
                <a:ext uri="{FF2B5EF4-FFF2-40B4-BE49-F238E27FC236}">
                  <a16:creationId xmlns:a16="http://schemas.microsoft.com/office/drawing/2014/main" id="{C2BCDAF1-94C7-1FAD-3527-261E836DD200}"/>
                </a:ext>
              </a:extLst>
            </p:cNvPr>
            <p:cNvSpPr/>
            <p:nvPr/>
          </p:nvSpPr>
          <p:spPr>
            <a:xfrm>
              <a:off x="4953428" y="4923153"/>
              <a:ext cx="98516" cy="71295"/>
            </a:xfrm>
            <a:custGeom>
              <a:avLst/>
              <a:gdLst>
                <a:gd name="connsiteX0" fmla="*/ 8555 w 98516"/>
                <a:gd name="connsiteY0" fmla="*/ 33766 h 71295"/>
                <a:gd name="connsiteX1" fmla="*/ 1483 w 98516"/>
                <a:gd name="connsiteY1" fmla="*/ 33766 h 71295"/>
                <a:gd name="connsiteX2" fmla="*/ 0 w 98516"/>
                <a:gd name="connsiteY2" fmla="*/ 37302 h 71295"/>
                <a:gd name="connsiteX3" fmla="*/ 1483 w 98516"/>
                <a:gd name="connsiteY3" fmla="*/ 40838 h 71295"/>
                <a:gd name="connsiteX4" fmla="*/ 30686 w 98516"/>
                <a:gd name="connsiteY4" fmla="*/ 69813 h 71295"/>
                <a:gd name="connsiteX5" fmla="*/ 34336 w 98516"/>
                <a:gd name="connsiteY5" fmla="*/ 71296 h 71295"/>
                <a:gd name="connsiteX6" fmla="*/ 37872 w 98516"/>
                <a:gd name="connsiteY6" fmla="*/ 69813 h 71295"/>
                <a:gd name="connsiteX7" fmla="*/ 97076 w 98516"/>
                <a:gd name="connsiteY7" fmla="*/ 8555 h 71295"/>
                <a:gd name="connsiteX8" fmla="*/ 96962 w 98516"/>
                <a:gd name="connsiteY8" fmla="*/ 1483 h 71295"/>
                <a:gd name="connsiteX9" fmla="*/ 93426 w 98516"/>
                <a:gd name="connsiteY9" fmla="*/ 0 h 71295"/>
                <a:gd name="connsiteX10" fmla="*/ 89890 w 98516"/>
                <a:gd name="connsiteY10" fmla="*/ 1483 h 71295"/>
                <a:gd name="connsiteX11" fmla="*/ 34222 w 98516"/>
                <a:gd name="connsiteY11" fmla="*/ 59090 h 71295"/>
                <a:gd name="connsiteX12" fmla="*/ 8555 w 98516"/>
                <a:gd name="connsiteY12" fmla="*/ 33766 h 7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516" h="71295">
                  <a:moveTo>
                    <a:pt x="8555" y="33766"/>
                  </a:moveTo>
                  <a:cubicBezTo>
                    <a:pt x="6616" y="31826"/>
                    <a:pt x="3422" y="31826"/>
                    <a:pt x="1483" y="33766"/>
                  </a:cubicBezTo>
                  <a:cubicBezTo>
                    <a:pt x="570" y="34678"/>
                    <a:pt x="0" y="35933"/>
                    <a:pt x="0" y="37302"/>
                  </a:cubicBezTo>
                  <a:cubicBezTo>
                    <a:pt x="0" y="38671"/>
                    <a:pt x="570" y="39926"/>
                    <a:pt x="1483" y="40838"/>
                  </a:cubicBezTo>
                  <a:lnTo>
                    <a:pt x="30686" y="69813"/>
                  </a:lnTo>
                  <a:cubicBezTo>
                    <a:pt x="31598" y="70725"/>
                    <a:pt x="32853" y="71296"/>
                    <a:pt x="34336" y="71296"/>
                  </a:cubicBezTo>
                  <a:cubicBezTo>
                    <a:pt x="35705" y="71296"/>
                    <a:pt x="36960" y="70725"/>
                    <a:pt x="37872" y="69813"/>
                  </a:cubicBezTo>
                  <a:lnTo>
                    <a:pt x="97076" y="8555"/>
                  </a:lnTo>
                  <a:cubicBezTo>
                    <a:pt x="99015" y="6502"/>
                    <a:pt x="99015" y="3308"/>
                    <a:pt x="96962" y="1483"/>
                  </a:cubicBezTo>
                  <a:cubicBezTo>
                    <a:pt x="95821" y="342"/>
                    <a:pt x="94224" y="114"/>
                    <a:pt x="93426" y="0"/>
                  </a:cubicBezTo>
                  <a:cubicBezTo>
                    <a:pt x="92057" y="0"/>
                    <a:pt x="90802" y="570"/>
                    <a:pt x="89890" y="1483"/>
                  </a:cubicBezTo>
                  <a:lnTo>
                    <a:pt x="34222" y="59090"/>
                  </a:lnTo>
                  <a:lnTo>
                    <a:pt x="8555" y="33766"/>
                  </a:lnTo>
                  <a:close/>
                </a:path>
              </a:pathLst>
            </a:custGeom>
            <a:grpFill/>
            <a:ln w="11403" cap="flat">
              <a:noFill/>
              <a:prstDash val="solid"/>
              <a:miter/>
            </a:ln>
          </p:spPr>
          <p:txBody>
            <a:bodyPr rtlCol="0" anchor="ctr"/>
            <a:lstStyle/>
            <a:p>
              <a:pPr defTabSz="466522"/>
              <a:endParaRPr lang="en-AU" sz="1000">
                <a:solidFill>
                  <a:prstClr val="black"/>
                </a:solidFill>
              </a:endParaRPr>
            </a:p>
          </p:txBody>
        </p:sp>
      </p:grpSp>
      <p:cxnSp>
        <p:nvCxnSpPr>
          <p:cNvPr id="179" name="Straight Connector 178">
            <a:extLst>
              <a:ext uri="{FF2B5EF4-FFF2-40B4-BE49-F238E27FC236}">
                <a16:creationId xmlns:a16="http://schemas.microsoft.com/office/drawing/2014/main" id="{2C75D102-BCEC-B8CE-40F8-D30ACCB16564}"/>
              </a:ext>
              <a:ext uri="{C183D7F6-B498-43B3-948B-1728B52AA6E4}">
                <adec:decorative xmlns:adec="http://schemas.microsoft.com/office/drawing/2017/decorative" val="1"/>
              </a:ext>
            </a:extLst>
          </p:cNvPr>
          <p:cNvCxnSpPr>
            <a:cxnSpLocks/>
            <a:stCxn id="199" idx="4"/>
          </p:cNvCxnSpPr>
          <p:nvPr/>
        </p:nvCxnSpPr>
        <p:spPr>
          <a:xfrm>
            <a:off x="8087256"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21" name="Oval 220">
            <a:extLst>
              <a:ext uri="{FF2B5EF4-FFF2-40B4-BE49-F238E27FC236}">
                <a16:creationId xmlns:a16="http://schemas.microsoft.com/office/drawing/2014/main" id="{F25B7E80-7939-D3B0-A791-02AA767E45DE}"/>
              </a:ext>
              <a:ext uri="{C183D7F6-B498-43B3-948B-1728B52AA6E4}">
                <adec:decorative xmlns:adec="http://schemas.microsoft.com/office/drawing/2017/decorative" val="1"/>
              </a:ext>
            </a:extLst>
          </p:cNvPr>
          <p:cNvSpPr/>
          <p:nvPr/>
        </p:nvSpPr>
        <p:spPr>
          <a:xfrm>
            <a:off x="9212099"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accent6"/>
                </a:solidFill>
              </a:rPr>
              <a:t>6</a:t>
            </a:r>
          </a:p>
        </p:txBody>
      </p:sp>
      <p:cxnSp>
        <p:nvCxnSpPr>
          <p:cNvPr id="222" name="Straight Connector 221">
            <a:extLst>
              <a:ext uri="{FF2B5EF4-FFF2-40B4-BE49-F238E27FC236}">
                <a16:creationId xmlns:a16="http://schemas.microsoft.com/office/drawing/2014/main" id="{D5C4E877-B3D0-1682-9910-8607DC72C73D}"/>
              </a:ext>
              <a:ext uri="{C183D7F6-B498-43B3-948B-1728B52AA6E4}">
                <adec:decorative xmlns:adec="http://schemas.microsoft.com/office/drawing/2017/decorative" val="1"/>
              </a:ext>
            </a:extLst>
          </p:cNvPr>
          <p:cNvCxnSpPr>
            <a:cxnSpLocks/>
            <a:stCxn id="221" idx="4"/>
          </p:cNvCxnSpPr>
          <p:nvPr/>
        </p:nvCxnSpPr>
        <p:spPr>
          <a:xfrm>
            <a:off x="9320748" y="2481262"/>
            <a:ext cx="0"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223" name="Graphic 10">
            <a:extLst>
              <a:ext uri="{FF2B5EF4-FFF2-40B4-BE49-F238E27FC236}">
                <a16:creationId xmlns:a16="http://schemas.microsoft.com/office/drawing/2014/main" id="{63878048-16E3-AFF3-A8AC-A5A2D92ED128}"/>
              </a:ext>
              <a:ext uri="{C183D7F6-B498-43B3-948B-1728B52AA6E4}">
                <adec:decorative xmlns:adec="http://schemas.microsoft.com/office/drawing/2017/decorative" val="1"/>
              </a:ext>
            </a:extLst>
          </p:cNvPr>
          <p:cNvGrpSpPr/>
          <p:nvPr/>
        </p:nvGrpSpPr>
        <p:grpSpPr>
          <a:xfrm>
            <a:off x="9450273" y="2651633"/>
            <a:ext cx="210548" cy="249944"/>
            <a:chOff x="2249667" y="6608812"/>
            <a:chExt cx="260315" cy="309023"/>
          </a:xfrm>
          <a:solidFill>
            <a:schemeClr val="accent5"/>
          </a:solidFill>
        </p:grpSpPr>
        <p:sp>
          <p:nvSpPr>
            <p:cNvPr id="224" name="Freeform: Shape 223">
              <a:extLst>
                <a:ext uri="{FF2B5EF4-FFF2-40B4-BE49-F238E27FC236}">
                  <a16:creationId xmlns:a16="http://schemas.microsoft.com/office/drawing/2014/main" id="{BAF72B52-05E3-235A-7B08-31688D9C1563}"/>
                </a:ext>
              </a:extLst>
            </p:cNvPr>
            <p:cNvSpPr/>
            <p:nvPr/>
          </p:nvSpPr>
          <p:spPr>
            <a:xfrm>
              <a:off x="2389065" y="6796918"/>
              <a:ext cx="120917" cy="120917"/>
            </a:xfrm>
            <a:custGeom>
              <a:avLst/>
              <a:gdLst>
                <a:gd name="connsiteX0" fmla="*/ 117723 w 120917"/>
                <a:gd name="connsiteY0" fmla="*/ 40838 h 120917"/>
                <a:gd name="connsiteX1" fmla="*/ 115328 w 120917"/>
                <a:gd name="connsiteY1" fmla="*/ 38328 h 120917"/>
                <a:gd name="connsiteX2" fmla="*/ 111792 w 120917"/>
                <a:gd name="connsiteY2" fmla="*/ 38328 h 120917"/>
                <a:gd name="connsiteX3" fmla="*/ 109168 w 120917"/>
                <a:gd name="connsiteY3" fmla="*/ 44260 h 120917"/>
                <a:gd name="connsiteX4" fmla="*/ 111792 w 120917"/>
                <a:gd name="connsiteY4" fmla="*/ 60459 h 120917"/>
                <a:gd name="connsiteX5" fmla="*/ 60459 w 120917"/>
                <a:gd name="connsiteY5" fmla="*/ 111792 h 120917"/>
                <a:gd name="connsiteX6" fmla="*/ 9126 w 120917"/>
                <a:gd name="connsiteY6" fmla="*/ 60459 h 120917"/>
                <a:gd name="connsiteX7" fmla="*/ 60459 w 120917"/>
                <a:gd name="connsiteY7" fmla="*/ 9126 h 120917"/>
                <a:gd name="connsiteX8" fmla="*/ 96392 w 120917"/>
                <a:gd name="connsiteY8" fmla="*/ 23727 h 120917"/>
                <a:gd name="connsiteX9" fmla="*/ 99586 w 120917"/>
                <a:gd name="connsiteY9" fmla="*/ 25210 h 120917"/>
                <a:gd name="connsiteX10" fmla="*/ 99586 w 120917"/>
                <a:gd name="connsiteY10" fmla="*/ 25210 h 120917"/>
                <a:gd name="connsiteX11" fmla="*/ 102780 w 120917"/>
                <a:gd name="connsiteY11" fmla="*/ 23955 h 120917"/>
                <a:gd name="connsiteX12" fmla="*/ 104263 w 120917"/>
                <a:gd name="connsiteY12" fmla="*/ 20761 h 120917"/>
                <a:gd name="connsiteX13" fmla="*/ 103008 w 120917"/>
                <a:gd name="connsiteY13" fmla="*/ 17453 h 120917"/>
                <a:gd name="connsiteX14" fmla="*/ 60459 w 120917"/>
                <a:gd name="connsiteY14" fmla="*/ 0 h 120917"/>
                <a:gd name="connsiteX15" fmla="*/ 0 w 120917"/>
                <a:gd name="connsiteY15" fmla="*/ 60459 h 120917"/>
                <a:gd name="connsiteX16" fmla="*/ 60459 w 120917"/>
                <a:gd name="connsiteY16" fmla="*/ 120917 h 120917"/>
                <a:gd name="connsiteX17" fmla="*/ 120917 w 120917"/>
                <a:gd name="connsiteY17" fmla="*/ 60459 h 120917"/>
                <a:gd name="connsiteX18" fmla="*/ 117723 w 120917"/>
                <a:gd name="connsiteY18" fmla="*/ 40952 h 12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917" h="120917">
                  <a:moveTo>
                    <a:pt x="117723" y="40838"/>
                  </a:moveTo>
                  <a:cubicBezTo>
                    <a:pt x="117267" y="39697"/>
                    <a:pt x="116469" y="38784"/>
                    <a:pt x="115328" y="38328"/>
                  </a:cubicBezTo>
                  <a:cubicBezTo>
                    <a:pt x="114187" y="37872"/>
                    <a:pt x="112932" y="37872"/>
                    <a:pt x="111792" y="38328"/>
                  </a:cubicBezTo>
                  <a:cubicBezTo>
                    <a:pt x="109396" y="39241"/>
                    <a:pt x="108255" y="41979"/>
                    <a:pt x="109168" y="44260"/>
                  </a:cubicBezTo>
                  <a:cubicBezTo>
                    <a:pt x="111563" y="50192"/>
                    <a:pt x="111792" y="53956"/>
                    <a:pt x="111792" y="60459"/>
                  </a:cubicBezTo>
                  <a:cubicBezTo>
                    <a:pt x="111792" y="88749"/>
                    <a:pt x="88749" y="111792"/>
                    <a:pt x="60459" y="111792"/>
                  </a:cubicBezTo>
                  <a:cubicBezTo>
                    <a:pt x="32169" y="111792"/>
                    <a:pt x="9126" y="88749"/>
                    <a:pt x="9126" y="60459"/>
                  </a:cubicBezTo>
                  <a:cubicBezTo>
                    <a:pt x="9126" y="32169"/>
                    <a:pt x="32169" y="9126"/>
                    <a:pt x="60459" y="9126"/>
                  </a:cubicBezTo>
                  <a:cubicBezTo>
                    <a:pt x="74718" y="9126"/>
                    <a:pt x="86581" y="13346"/>
                    <a:pt x="96392" y="23727"/>
                  </a:cubicBezTo>
                  <a:cubicBezTo>
                    <a:pt x="97190" y="24639"/>
                    <a:pt x="98331" y="25096"/>
                    <a:pt x="99586" y="25210"/>
                  </a:cubicBezTo>
                  <a:lnTo>
                    <a:pt x="99586" y="25210"/>
                  </a:lnTo>
                  <a:cubicBezTo>
                    <a:pt x="100841" y="25210"/>
                    <a:pt x="101981" y="24754"/>
                    <a:pt x="102780" y="23955"/>
                  </a:cubicBezTo>
                  <a:cubicBezTo>
                    <a:pt x="103692" y="23156"/>
                    <a:pt x="104149" y="22016"/>
                    <a:pt x="104263" y="20761"/>
                  </a:cubicBezTo>
                  <a:cubicBezTo>
                    <a:pt x="104263" y="19506"/>
                    <a:pt x="103806" y="18366"/>
                    <a:pt x="103008" y="17453"/>
                  </a:cubicBezTo>
                  <a:cubicBezTo>
                    <a:pt x="91487" y="5247"/>
                    <a:pt x="77227" y="0"/>
                    <a:pt x="60459" y="0"/>
                  </a:cubicBezTo>
                  <a:cubicBezTo>
                    <a:pt x="27149" y="0"/>
                    <a:pt x="0" y="27149"/>
                    <a:pt x="0" y="60459"/>
                  </a:cubicBezTo>
                  <a:cubicBezTo>
                    <a:pt x="0" y="93768"/>
                    <a:pt x="27149" y="120917"/>
                    <a:pt x="60459" y="120917"/>
                  </a:cubicBezTo>
                  <a:cubicBezTo>
                    <a:pt x="93768" y="120917"/>
                    <a:pt x="120917" y="93768"/>
                    <a:pt x="120917" y="60459"/>
                  </a:cubicBezTo>
                  <a:cubicBezTo>
                    <a:pt x="120917" y="52816"/>
                    <a:pt x="120461" y="48024"/>
                    <a:pt x="117723" y="40952"/>
                  </a:cubicBezTo>
                </a:path>
              </a:pathLst>
            </a:custGeom>
            <a:grpFill/>
            <a:ln w="11403" cap="flat">
              <a:noFill/>
              <a:prstDash val="solid"/>
              <a:miter/>
            </a:ln>
          </p:spPr>
          <p:txBody>
            <a:bodyPr rtlCol="0" anchor="ctr"/>
            <a:lstStyle/>
            <a:p>
              <a:pPr defTabSz="466522"/>
              <a:endParaRPr lang="en-AU" sz="1000" dirty="0">
                <a:solidFill>
                  <a:prstClr val="black"/>
                </a:solidFill>
              </a:endParaRPr>
            </a:p>
          </p:txBody>
        </p:sp>
        <p:sp>
          <p:nvSpPr>
            <p:cNvPr id="225" name="Freeform: Shape 224">
              <a:extLst>
                <a:ext uri="{FF2B5EF4-FFF2-40B4-BE49-F238E27FC236}">
                  <a16:creationId xmlns:a16="http://schemas.microsoft.com/office/drawing/2014/main" id="{6D9B6773-1762-E7FE-1F0C-6F432315221D}"/>
                </a:ext>
              </a:extLst>
            </p:cNvPr>
            <p:cNvSpPr/>
            <p:nvPr/>
          </p:nvSpPr>
          <p:spPr>
            <a:xfrm>
              <a:off x="2418381" y="6815284"/>
              <a:ext cx="89575" cy="64793"/>
            </a:xfrm>
            <a:custGeom>
              <a:avLst/>
              <a:gdLst>
                <a:gd name="connsiteX0" fmla="*/ 7871 w 89575"/>
                <a:gd name="connsiteY0" fmla="*/ 30800 h 64793"/>
                <a:gd name="connsiteX1" fmla="*/ 1369 w 89575"/>
                <a:gd name="connsiteY1" fmla="*/ 30800 h 64793"/>
                <a:gd name="connsiteX2" fmla="*/ 0 w 89575"/>
                <a:gd name="connsiteY2" fmla="*/ 33994 h 64793"/>
                <a:gd name="connsiteX3" fmla="*/ 1369 w 89575"/>
                <a:gd name="connsiteY3" fmla="*/ 37188 h 64793"/>
                <a:gd name="connsiteX4" fmla="*/ 27948 w 89575"/>
                <a:gd name="connsiteY4" fmla="*/ 63425 h 64793"/>
                <a:gd name="connsiteX5" fmla="*/ 31256 w 89575"/>
                <a:gd name="connsiteY5" fmla="*/ 64793 h 64793"/>
                <a:gd name="connsiteX6" fmla="*/ 34450 w 89575"/>
                <a:gd name="connsiteY6" fmla="*/ 63425 h 64793"/>
                <a:gd name="connsiteX7" fmla="*/ 88293 w 89575"/>
                <a:gd name="connsiteY7" fmla="*/ 7757 h 64793"/>
                <a:gd name="connsiteX8" fmla="*/ 88293 w 89575"/>
                <a:gd name="connsiteY8" fmla="*/ 1255 h 64793"/>
                <a:gd name="connsiteX9" fmla="*/ 84984 w 89575"/>
                <a:gd name="connsiteY9" fmla="*/ 0 h 64793"/>
                <a:gd name="connsiteX10" fmla="*/ 81790 w 89575"/>
                <a:gd name="connsiteY10" fmla="*/ 1369 h 64793"/>
                <a:gd name="connsiteX11" fmla="*/ 31256 w 89575"/>
                <a:gd name="connsiteY11" fmla="*/ 53615 h 64793"/>
                <a:gd name="connsiteX12" fmla="*/ 7985 w 89575"/>
                <a:gd name="connsiteY12" fmla="*/ 30572 h 6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75" h="64793">
                  <a:moveTo>
                    <a:pt x="7871" y="30800"/>
                  </a:moveTo>
                  <a:cubicBezTo>
                    <a:pt x="6046" y="28974"/>
                    <a:pt x="3194" y="29089"/>
                    <a:pt x="1369" y="30800"/>
                  </a:cubicBezTo>
                  <a:cubicBezTo>
                    <a:pt x="456" y="31713"/>
                    <a:pt x="0" y="32853"/>
                    <a:pt x="0" y="33994"/>
                  </a:cubicBezTo>
                  <a:cubicBezTo>
                    <a:pt x="0" y="35249"/>
                    <a:pt x="456" y="36389"/>
                    <a:pt x="1369" y="37188"/>
                  </a:cubicBezTo>
                  <a:lnTo>
                    <a:pt x="27948" y="63425"/>
                  </a:lnTo>
                  <a:cubicBezTo>
                    <a:pt x="28860" y="64337"/>
                    <a:pt x="30001" y="64793"/>
                    <a:pt x="31256" y="64793"/>
                  </a:cubicBezTo>
                  <a:cubicBezTo>
                    <a:pt x="32511" y="64793"/>
                    <a:pt x="33652" y="64223"/>
                    <a:pt x="34450" y="63425"/>
                  </a:cubicBezTo>
                  <a:lnTo>
                    <a:pt x="88293" y="7757"/>
                  </a:lnTo>
                  <a:cubicBezTo>
                    <a:pt x="90004" y="5932"/>
                    <a:pt x="90004" y="3080"/>
                    <a:pt x="88293" y="1255"/>
                  </a:cubicBezTo>
                  <a:cubicBezTo>
                    <a:pt x="87266" y="228"/>
                    <a:pt x="85783" y="0"/>
                    <a:pt x="84984" y="0"/>
                  </a:cubicBezTo>
                  <a:cubicBezTo>
                    <a:pt x="83730" y="0"/>
                    <a:pt x="82589" y="570"/>
                    <a:pt x="81790" y="1369"/>
                  </a:cubicBezTo>
                  <a:lnTo>
                    <a:pt x="31256" y="53615"/>
                  </a:lnTo>
                  <a:lnTo>
                    <a:pt x="7985" y="30572"/>
                  </a:lnTo>
                  <a:close/>
                </a:path>
              </a:pathLst>
            </a:custGeom>
            <a:grpFill/>
            <a:ln w="11403" cap="flat">
              <a:noFill/>
              <a:prstDash val="solid"/>
              <a:miter/>
            </a:ln>
          </p:spPr>
          <p:txBody>
            <a:bodyPr rtlCol="0" anchor="ctr"/>
            <a:lstStyle/>
            <a:p>
              <a:pPr defTabSz="466522"/>
              <a:endParaRPr lang="en-AU" sz="1000" dirty="0">
                <a:solidFill>
                  <a:prstClr val="black"/>
                </a:solidFill>
              </a:endParaRPr>
            </a:p>
          </p:txBody>
        </p:sp>
        <p:sp>
          <p:nvSpPr>
            <p:cNvPr id="226" name="Freeform: Shape 225">
              <a:extLst>
                <a:ext uri="{FF2B5EF4-FFF2-40B4-BE49-F238E27FC236}">
                  <a16:creationId xmlns:a16="http://schemas.microsoft.com/office/drawing/2014/main" id="{3940AE53-1381-D089-E889-7FF6BD1D735D}"/>
                </a:ext>
              </a:extLst>
            </p:cNvPr>
            <p:cNvSpPr/>
            <p:nvPr/>
          </p:nvSpPr>
          <p:spPr>
            <a:xfrm>
              <a:off x="2249667" y="6608812"/>
              <a:ext cx="220845" cy="270923"/>
            </a:xfrm>
            <a:custGeom>
              <a:avLst/>
              <a:gdLst>
                <a:gd name="connsiteX0" fmla="*/ 132211 w 220845"/>
                <a:gd name="connsiteY0" fmla="*/ 261227 h 270923"/>
                <a:gd name="connsiteX1" fmla="*/ 22586 w 220845"/>
                <a:gd name="connsiteY1" fmla="*/ 261227 h 270923"/>
                <a:gd name="connsiteX2" fmla="*/ 9696 w 220845"/>
                <a:gd name="connsiteY2" fmla="*/ 248337 h 270923"/>
                <a:gd name="connsiteX3" fmla="*/ 9696 w 220845"/>
                <a:gd name="connsiteY3" fmla="*/ 22586 h 270923"/>
                <a:gd name="connsiteX4" fmla="*/ 22586 w 220845"/>
                <a:gd name="connsiteY4" fmla="*/ 9696 h 270923"/>
                <a:gd name="connsiteX5" fmla="*/ 137002 w 220845"/>
                <a:gd name="connsiteY5" fmla="*/ 9696 h 270923"/>
                <a:gd name="connsiteX6" fmla="*/ 137002 w 220845"/>
                <a:gd name="connsiteY6" fmla="*/ 72550 h 270923"/>
                <a:gd name="connsiteX7" fmla="*/ 148295 w 220845"/>
                <a:gd name="connsiteY7" fmla="*/ 83843 h 270923"/>
                <a:gd name="connsiteX8" fmla="*/ 211149 w 220845"/>
                <a:gd name="connsiteY8" fmla="*/ 83843 h 270923"/>
                <a:gd name="connsiteX9" fmla="*/ 211149 w 220845"/>
                <a:gd name="connsiteY9" fmla="*/ 182403 h 270923"/>
                <a:gd name="connsiteX10" fmla="*/ 220846 w 220845"/>
                <a:gd name="connsiteY10" fmla="*/ 182403 h 270923"/>
                <a:gd name="connsiteX11" fmla="*/ 220846 w 220845"/>
                <a:gd name="connsiteY11" fmla="*/ 67759 h 270923"/>
                <a:gd name="connsiteX12" fmla="*/ 159588 w 220845"/>
                <a:gd name="connsiteY12" fmla="*/ 0 h 270923"/>
                <a:gd name="connsiteX13" fmla="*/ 22586 w 220845"/>
                <a:gd name="connsiteY13" fmla="*/ 0 h 270923"/>
                <a:gd name="connsiteX14" fmla="*/ 0 w 220845"/>
                <a:gd name="connsiteY14" fmla="*/ 22586 h 270923"/>
                <a:gd name="connsiteX15" fmla="*/ 0 w 220845"/>
                <a:gd name="connsiteY15" fmla="*/ 248337 h 270923"/>
                <a:gd name="connsiteX16" fmla="*/ 22586 w 220845"/>
                <a:gd name="connsiteY16" fmla="*/ 270924 h 270923"/>
                <a:gd name="connsiteX17" fmla="*/ 132211 w 220845"/>
                <a:gd name="connsiteY17" fmla="*/ 270924 h 270923"/>
                <a:gd name="connsiteX18" fmla="*/ 132211 w 220845"/>
                <a:gd name="connsiteY18" fmla="*/ 261227 h 270923"/>
                <a:gd name="connsiteX19" fmla="*/ 146698 w 220845"/>
                <a:gd name="connsiteY19" fmla="*/ 9696 h 270923"/>
                <a:gd name="connsiteX20" fmla="*/ 154797 w 220845"/>
                <a:gd name="connsiteY20" fmla="*/ 9696 h 270923"/>
                <a:gd name="connsiteX21" fmla="*/ 212860 w 220845"/>
                <a:gd name="connsiteY21" fmla="*/ 74148 h 270923"/>
                <a:gd name="connsiteX22" fmla="*/ 146812 w 220845"/>
                <a:gd name="connsiteY22" fmla="*/ 74148 h 270923"/>
                <a:gd name="connsiteX23" fmla="*/ 146812 w 220845"/>
                <a:gd name="connsiteY23" fmla="*/ 9696 h 27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0845" h="270923">
                  <a:moveTo>
                    <a:pt x="132211" y="261227"/>
                  </a:moveTo>
                  <a:lnTo>
                    <a:pt x="22586" y="261227"/>
                  </a:lnTo>
                  <a:cubicBezTo>
                    <a:pt x="16084" y="261227"/>
                    <a:pt x="9696" y="254725"/>
                    <a:pt x="9696" y="248337"/>
                  </a:cubicBezTo>
                  <a:lnTo>
                    <a:pt x="9696" y="22586"/>
                  </a:lnTo>
                  <a:cubicBezTo>
                    <a:pt x="9696" y="16084"/>
                    <a:pt x="16198" y="9696"/>
                    <a:pt x="22586" y="9696"/>
                  </a:cubicBezTo>
                  <a:lnTo>
                    <a:pt x="137002" y="9696"/>
                  </a:lnTo>
                  <a:lnTo>
                    <a:pt x="137002" y="72550"/>
                  </a:lnTo>
                  <a:cubicBezTo>
                    <a:pt x="137002" y="79053"/>
                    <a:pt x="141793" y="83843"/>
                    <a:pt x="148295" y="83843"/>
                  </a:cubicBezTo>
                  <a:lnTo>
                    <a:pt x="211149" y="83843"/>
                  </a:lnTo>
                  <a:lnTo>
                    <a:pt x="211149" y="182403"/>
                  </a:lnTo>
                  <a:lnTo>
                    <a:pt x="220846" y="182403"/>
                  </a:lnTo>
                  <a:lnTo>
                    <a:pt x="220846" y="67759"/>
                  </a:lnTo>
                  <a:lnTo>
                    <a:pt x="159588" y="0"/>
                  </a:lnTo>
                  <a:lnTo>
                    <a:pt x="22586" y="0"/>
                  </a:lnTo>
                  <a:cubicBezTo>
                    <a:pt x="9696" y="0"/>
                    <a:pt x="0" y="9696"/>
                    <a:pt x="0" y="22586"/>
                  </a:cubicBezTo>
                  <a:lnTo>
                    <a:pt x="0" y="248337"/>
                  </a:lnTo>
                  <a:cubicBezTo>
                    <a:pt x="0" y="261227"/>
                    <a:pt x="9696" y="270924"/>
                    <a:pt x="22586" y="270924"/>
                  </a:cubicBezTo>
                  <a:lnTo>
                    <a:pt x="132211" y="270924"/>
                  </a:lnTo>
                  <a:lnTo>
                    <a:pt x="132211" y="261227"/>
                  </a:lnTo>
                  <a:close/>
                  <a:moveTo>
                    <a:pt x="146698" y="9696"/>
                  </a:moveTo>
                  <a:lnTo>
                    <a:pt x="154797" y="9696"/>
                  </a:lnTo>
                  <a:lnTo>
                    <a:pt x="212860" y="74148"/>
                  </a:lnTo>
                  <a:lnTo>
                    <a:pt x="146812" y="74148"/>
                  </a:lnTo>
                  <a:lnTo>
                    <a:pt x="146812" y="9696"/>
                  </a:lnTo>
                  <a:close/>
                </a:path>
              </a:pathLst>
            </a:custGeom>
            <a:grpFill/>
            <a:ln w="11403" cap="flat">
              <a:noFill/>
              <a:prstDash val="solid"/>
              <a:miter/>
            </a:ln>
          </p:spPr>
          <p:txBody>
            <a:bodyPr rtlCol="0" anchor="ctr"/>
            <a:lstStyle/>
            <a:p>
              <a:pPr defTabSz="466522"/>
              <a:endParaRPr lang="en-AU" sz="1000">
                <a:solidFill>
                  <a:prstClr val="black"/>
                </a:solidFill>
              </a:endParaRPr>
            </a:p>
          </p:txBody>
        </p:sp>
      </p:grpSp>
      <p:cxnSp>
        <p:nvCxnSpPr>
          <p:cNvPr id="186" name="Straight Connector 185">
            <a:extLst>
              <a:ext uri="{FF2B5EF4-FFF2-40B4-BE49-F238E27FC236}">
                <a16:creationId xmlns:a16="http://schemas.microsoft.com/office/drawing/2014/main" id="{598840E1-3D2C-DDB5-322A-9CF7C41A1C22}"/>
              </a:ext>
              <a:ext uri="{C183D7F6-B498-43B3-948B-1728B52AA6E4}">
                <adec:decorative xmlns:adec="http://schemas.microsoft.com/office/drawing/2017/decorative" val="1"/>
              </a:ext>
            </a:extLst>
          </p:cNvPr>
          <p:cNvCxnSpPr>
            <a:cxnSpLocks/>
            <a:stCxn id="193" idx="6"/>
            <a:endCxn id="208" idx="2"/>
          </p:cNvCxnSpPr>
          <p:nvPr/>
        </p:nvCxnSpPr>
        <p:spPr>
          <a:xfrm>
            <a:off x="2638207" y="2372613"/>
            <a:ext cx="1144073"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8" name="Oval 207">
            <a:extLst>
              <a:ext uri="{FF2B5EF4-FFF2-40B4-BE49-F238E27FC236}">
                <a16:creationId xmlns:a16="http://schemas.microsoft.com/office/drawing/2014/main" id="{3C76F18F-01B4-D976-4513-8FA3134E0618}"/>
              </a:ext>
              <a:ext uri="{C183D7F6-B498-43B3-948B-1728B52AA6E4}">
                <adec:decorative xmlns:adec="http://schemas.microsoft.com/office/drawing/2017/decorative" val="1"/>
              </a:ext>
            </a:extLst>
          </p:cNvPr>
          <p:cNvSpPr/>
          <p:nvPr/>
        </p:nvSpPr>
        <p:spPr>
          <a:xfrm>
            <a:off x="3782280"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2</a:t>
            </a:r>
          </a:p>
        </p:txBody>
      </p:sp>
      <p:cxnSp>
        <p:nvCxnSpPr>
          <p:cNvPr id="209" name="Straight Connector 208">
            <a:extLst>
              <a:ext uri="{FF2B5EF4-FFF2-40B4-BE49-F238E27FC236}">
                <a16:creationId xmlns:a16="http://schemas.microsoft.com/office/drawing/2014/main" id="{C8C1F4B5-A25B-3C43-A37F-A9043CAF002B}"/>
              </a:ext>
              <a:ext uri="{C183D7F6-B498-43B3-948B-1728B52AA6E4}">
                <adec:decorative xmlns:adec="http://schemas.microsoft.com/office/drawing/2017/decorative" val="1"/>
              </a:ext>
            </a:extLst>
          </p:cNvPr>
          <p:cNvCxnSpPr>
            <a:cxnSpLocks/>
            <a:stCxn id="208" idx="4"/>
          </p:cNvCxnSpPr>
          <p:nvPr/>
        </p:nvCxnSpPr>
        <p:spPr>
          <a:xfrm>
            <a:off x="3890929" y="2481262"/>
            <a:ext cx="0"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sp>
        <p:nvSpPr>
          <p:cNvPr id="211" name="Freeform: Shape 210">
            <a:extLst>
              <a:ext uri="{FF2B5EF4-FFF2-40B4-BE49-F238E27FC236}">
                <a16:creationId xmlns:a16="http://schemas.microsoft.com/office/drawing/2014/main" id="{5EAF850E-CB4D-7AF6-2A34-2E3715ADDDE3}"/>
              </a:ext>
              <a:ext uri="{C183D7F6-B498-43B3-948B-1728B52AA6E4}">
                <adec:decorative xmlns:adec="http://schemas.microsoft.com/office/drawing/2017/decorative" val="1"/>
              </a:ext>
            </a:extLst>
          </p:cNvPr>
          <p:cNvSpPr/>
          <p:nvPr/>
        </p:nvSpPr>
        <p:spPr>
          <a:xfrm>
            <a:off x="2564181" y="2646065"/>
            <a:ext cx="245364" cy="234823"/>
          </a:xfrm>
          <a:custGeom>
            <a:avLst/>
            <a:gdLst>
              <a:gd name="connsiteX0" fmla="*/ 329685 w 330369"/>
              <a:gd name="connsiteY0" fmla="*/ 224918 h 316176"/>
              <a:gd name="connsiteX1" fmla="*/ 328545 w 330369"/>
              <a:gd name="connsiteY1" fmla="*/ 220926 h 316176"/>
              <a:gd name="connsiteX2" fmla="*/ 312232 w 330369"/>
              <a:gd name="connsiteY2" fmla="*/ 192749 h 316176"/>
              <a:gd name="connsiteX3" fmla="*/ 292840 w 330369"/>
              <a:gd name="connsiteY3" fmla="*/ 159212 h 316176"/>
              <a:gd name="connsiteX4" fmla="*/ 287136 w 330369"/>
              <a:gd name="connsiteY4" fmla="*/ 155790 h 316176"/>
              <a:gd name="connsiteX5" fmla="*/ 287136 w 330369"/>
              <a:gd name="connsiteY5" fmla="*/ 155790 h 316176"/>
              <a:gd name="connsiteX6" fmla="*/ 273219 w 330369"/>
              <a:gd name="connsiteY6" fmla="*/ 155790 h 316176"/>
              <a:gd name="connsiteX7" fmla="*/ 267173 w 330369"/>
              <a:gd name="connsiteY7" fmla="*/ 155790 h 316176"/>
              <a:gd name="connsiteX8" fmla="*/ 254511 w 330369"/>
              <a:gd name="connsiteY8" fmla="*/ 155790 h 316176"/>
              <a:gd name="connsiteX9" fmla="*/ 248579 w 330369"/>
              <a:gd name="connsiteY9" fmla="*/ 155790 h 316176"/>
              <a:gd name="connsiteX10" fmla="*/ 248579 w 330369"/>
              <a:gd name="connsiteY10" fmla="*/ 125218 h 316176"/>
              <a:gd name="connsiteX11" fmla="*/ 248579 w 330369"/>
              <a:gd name="connsiteY11" fmla="*/ 87916 h 316176"/>
              <a:gd name="connsiteX12" fmla="*/ 231126 w 330369"/>
              <a:gd name="connsiteY12" fmla="*/ 69893 h 316176"/>
              <a:gd name="connsiteX13" fmla="*/ 231126 w 330369"/>
              <a:gd name="connsiteY13" fmla="*/ 69893 h 316176"/>
              <a:gd name="connsiteX14" fmla="*/ 174546 w 330369"/>
              <a:gd name="connsiteY14" fmla="*/ 69893 h 316176"/>
              <a:gd name="connsiteX15" fmla="*/ 174546 w 330369"/>
              <a:gd name="connsiteY15" fmla="*/ 69893 h 316176"/>
              <a:gd name="connsiteX16" fmla="*/ 170782 w 330369"/>
              <a:gd name="connsiteY16" fmla="*/ 67954 h 316176"/>
              <a:gd name="connsiteX17" fmla="*/ 161199 w 330369"/>
              <a:gd name="connsiteY17" fmla="*/ 53466 h 316176"/>
              <a:gd name="connsiteX18" fmla="*/ 160287 w 330369"/>
              <a:gd name="connsiteY18" fmla="*/ 52097 h 316176"/>
              <a:gd name="connsiteX19" fmla="*/ 132567 w 330369"/>
              <a:gd name="connsiteY19" fmla="*/ 35101 h 316176"/>
              <a:gd name="connsiteX20" fmla="*/ 89219 w 330369"/>
              <a:gd name="connsiteY20" fmla="*/ 32591 h 316176"/>
              <a:gd name="connsiteX21" fmla="*/ 70397 w 330369"/>
              <a:gd name="connsiteY21" fmla="*/ 26773 h 316176"/>
              <a:gd name="connsiteX22" fmla="*/ 64922 w 330369"/>
              <a:gd name="connsiteY22" fmla="*/ 24264 h 316176"/>
              <a:gd name="connsiteX23" fmla="*/ 64922 w 330369"/>
              <a:gd name="connsiteY23" fmla="*/ 23921 h 316176"/>
              <a:gd name="connsiteX24" fmla="*/ 65378 w 330369"/>
              <a:gd name="connsiteY24" fmla="*/ 23009 h 316176"/>
              <a:gd name="connsiteX25" fmla="*/ 58876 w 330369"/>
              <a:gd name="connsiteY25" fmla="*/ 6468 h 316176"/>
              <a:gd name="connsiteX26" fmla="*/ 50891 w 330369"/>
              <a:gd name="connsiteY26" fmla="*/ 2704 h 316176"/>
              <a:gd name="connsiteX27" fmla="*/ 48153 w 330369"/>
              <a:gd name="connsiteY27" fmla="*/ 1449 h 316176"/>
              <a:gd name="connsiteX28" fmla="*/ 31840 w 330369"/>
              <a:gd name="connsiteY28" fmla="*/ 7153 h 316176"/>
              <a:gd name="connsiteX29" fmla="*/ 1383 w 330369"/>
              <a:gd name="connsiteY29" fmla="*/ 72288 h 316176"/>
              <a:gd name="connsiteX30" fmla="*/ 6859 w 330369"/>
              <a:gd name="connsiteY30" fmla="*/ 88259 h 316176"/>
              <a:gd name="connsiteX31" fmla="*/ 16441 w 330369"/>
              <a:gd name="connsiteY31" fmla="*/ 92821 h 316176"/>
              <a:gd name="connsiteX32" fmla="*/ 19064 w 330369"/>
              <a:gd name="connsiteY32" fmla="*/ 94076 h 316176"/>
              <a:gd name="connsiteX33" fmla="*/ 35034 w 330369"/>
              <a:gd name="connsiteY33" fmla="*/ 88487 h 316176"/>
              <a:gd name="connsiteX34" fmla="*/ 36517 w 330369"/>
              <a:gd name="connsiteY34" fmla="*/ 85635 h 316176"/>
              <a:gd name="connsiteX35" fmla="*/ 36746 w 330369"/>
              <a:gd name="connsiteY35" fmla="*/ 85065 h 316176"/>
              <a:gd name="connsiteX36" fmla="*/ 41309 w 330369"/>
              <a:gd name="connsiteY36" fmla="*/ 87232 h 316176"/>
              <a:gd name="connsiteX37" fmla="*/ 56708 w 330369"/>
              <a:gd name="connsiteY37" fmla="*/ 94419 h 316176"/>
              <a:gd name="connsiteX38" fmla="*/ 84314 w 330369"/>
              <a:gd name="connsiteY38" fmla="*/ 100921 h 316176"/>
              <a:gd name="connsiteX39" fmla="*/ 85569 w 330369"/>
              <a:gd name="connsiteY39" fmla="*/ 100921 h 316176"/>
              <a:gd name="connsiteX40" fmla="*/ 112262 w 330369"/>
              <a:gd name="connsiteY40" fmla="*/ 107195 h 316176"/>
              <a:gd name="connsiteX41" fmla="*/ 127434 w 330369"/>
              <a:gd name="connsiteY41" fmla="*/ 114267 h 316176"/>
              <a:gd name="connsiteX42" fmla="*/ 134050 w 330369"/>
              <a:gd name="connsiteY42" fmla="*/ 117347 h 316176"/>
              <a:gd name="connsiteX43" fmla="*/ 134050 w 330369"/>
              <a:gd name="connsiteY43" fmla="*/ 155790 h 316176"/>
              <a:gd name="connsiteX44" fmla="*/ 133366 w 330369"/>
              <a:gd name="connsiteY44" fmla="*/ 155790 h 316176"/>
              <a:gd name="connsiteX45" fmla="*/ 131426 w 330369"/>
              <a:gd name="connsiteY45" fmla="*/ 155790 h 316176"/>
              <a:gd name="connsiteX46" fmla="*/ 121844 w 330369"/>
              <a:gd name="connsiteY46" fmla="*/ 155790 h 316176"/>
              <a:gd name="connsiteX47" fmla="*/ 97204 w 330369"/>
              <a:gd name="connsiteY47" fmla="*/ 155904 h 316176"/>
              <a:gd name="connsiteX48" fmla="*/ 97204 w 330369"/>
              <a:gd name="connsiteY48" fmla="*/ 155904 h 316176"/>
              <a:gd name="connsiteX49" fmla="*/ 90360 w 330369"/>
              <a:gd name="connsiteY49" fmla="*/ 159897 h 316176"/>
              <a:gd name="connsiteX50" fmla="*/ 69713 w 330369"/>
              <a:gd name="connsiteY50" fmla="*/ 195830 h 316176"/>
              <a:gd name="connsiteX51" fmla="*/ 55340 w 330369"/>
              <a:gd name="connsiteY51" fmla="*/ 220812 h 316176"/>
              <a:gd name="connsiteX52" fmla="*/ 53971 w 330369"/>
              <a:gd name="connsiteY52" fmla="*/ 224690 h 316176"/>
              <a:gd name="connsiteX53" fmla="*/ 53971 w 330369"/>
              <a:gd name="connsiteY53" fmla="*/ 240432 h 316176"/>
              <a:gd name="connsiteX54" fmla="*/ 53971 w 330369"/>
              <a:gd name="connsiteY54" fmla="*/ 245451 h 316176"/>
              <a:gd name="connsiteX55" fmla="*/ 58419 w 330369"/>
              <a:gd name="connsiteY55" fmla="*/ 250014 h 316176"/>
              <a:gd name="connsiteX56" fmla="*/ 62868 w 330369"/>
              <a:gd name="connsiteY56" fmla="*/ 250014 h 316176"/>
              <a:gd name="connsiteX57" fmla="*/ 64123 w 330369"/>
              <a:gd name="connsiteY57" fmla="*/ 250014 h 316176"/>
              <a:gd name="connsiteX58" fmla="*/ 79979 w 330369"/>
              <a:gd name="connsiteY58" fmla="*/ 250014 h 316176"/>
              <a:gd name="connsiteX59" fmla="*/ 87736 w 330369"/>
              <a:gd name="connsiteY59" fmla="*/ 250014 h 316176"/>
              <a:gd name="connsiteX60" fmla="*/ 87736 w 330369"/>
              <a:gd name="connsiteY60" fmla="*/ 253779 h 316176"/>
              <a:gd name="connsiteX61" fmla="*/ 87736 w 330369"/>
              <a:gd name="connsiteY61" fmla="*/ 309332 h 316176"/>
              <a:gd name="connsiteX62" fmla="*/ 94581 w 330369"/>
              <a:gd name="connsiteY62" fmla="*/ 316177 h 316176"/>
              <a:gd name="connsiteX63" fmla="*/ 124696 w 330369"/>
              <a:gd name="connsiteY63" fmla="*/ 316177 h 316176"/>
              <a:gd name="connsiteX64" fmla="*/ 169869 w 330369"/>
              <a:gd name="connsiteY64" fmla="*/ 316177 h 316176"/>
              <a:gd name="connsiteX65" fmla="*/ 289532 w 330369"/>
              <a:gd name="connsiteY65" fmla="*/ 316177 h 316176"/>
              <a:gd name="connsiteX66" fmla="*/ 296718 w 330369"/>
              <a:gd name="connsiteY66" fmla="*/ 309218 h 316176"/>
              <a:gd name="connsiteX67" fmla="*/ 296718 w 330369"/>
              <a:gd name="connsiteY67" fmla="*/ 252980 h 316176"/>
              <a:gd name="connsiteX68" fmla="*/ 296718 w 330369"/>
              <a:gd name="connsiteY68" fmla="*/ 249900 h 316176"/>
              <a:gd name="connsiteX69" fmla="*/ 303334 w 330369"/>
              <a:gd name="connsiteY69" fmla="*/ 249900 h 316176"/>
              <a:gd name="connsiteX70" fmla="*/ 324210 w 330369"/>
              <a:gd name="connsiteY70" fmla="*/ 249900 h 316176"/>
              <a:gd name="connsiteX71" fmla="*/ 324210 w 330369"/>
              <a:gd name="connsiteY71" fmla="*/ 249900 h 316176"/>
              <a:gd name="connsiteX72" fmla="*/ 330370 w 330369"/>
              <a:gd name="connsiteY72" fmla="*/ 243968 h 316176"/>
              <a:gd name="connsiteX73" fmla="*/ 330370 w 330369"/>
              <a:gd name="connsiteY73" fmla="*/ 224576 h 316176"/>
              <a:gd name="connsiteX74" fmla="*/ 286908 w 330369"/>
              <a:gd name="connsiteY74" fmla="*/ 250471 h 316176"/>
              <a:gd name="connsiteX75" fmla="*/ 286908 w 330369"/>
              <a:gd name="connsiteY75" fmla="*/ 307165 h 316176"/>
              <a:gd name="connsiteX76" fmla="*/ 96178 w 330369"/>
              <a:gd name="connsiteY76" fmla="*/ 307165 h 316176"/>
              <a:gd name="connsiteX77" fmla="*/ 96178 w 330369"/>
              <a:gd name="connsiteY77" fmla="*/ 250471 h 316176"/>
              <a:gd name="connsiteX78" fmla="*/ 286908 w 330369"/>
              <a:gd name="connsiteY78" fmla="*/ 250471 h 316176"/>
              <a:gd name="connsiteX79" fmla="*/ 320560 w 330369"/>
              <a:gd name="connsiteY79" fmla="*/ 229025 h 316176"/>
              <a:gd name="connsiteX80" fmla="*/ 320560 w 330369"/>
              <a:gd name="connsiteY80" fmla="*/ 241003 h 316176"/>
              <a:gd name="connsiteX81" fmla="*/ 62640 w 330369"/>
              <a:gd name="connsiteY81" fmla="*/ 241003 h 316176"/>
              <a:gd name="connsiteX82" fmla="*/ 62640 w 330369"/>
              <a:gd name="connsiteY82" fmla="*/ 229025 h 316176"/>
              <a:gd name="connsiteX83" fmla="*/ 320560 w 330369"/>
              <a:gd name="connsiteY83" fmla="*/ 229025 h 316176"/>
              <a:gd name="connsiteX84" fmla="*/ 239111 w 330369"/>
              <a:gd name="connsiteY84" fmla="*/ 166855 h 316176"/>
              <a:gd name="connsiteX85" fmla="*/ 239111 w 330369"/>
              <a:gd name="connsiteY85" fmla="*/ 187616 h 316176"/>
              <a:gd name="connsiteX86" fmla="*/ 142948 w 330369"/>
              <a:gd name="connsiteY86" fmla="*/ 187616 h 316176"/>
              <a:gd name="connsiteX87" fmla="*/ 142948 w 330369"/>
              <a:gd name="connsiteY87" fmla="*/ 116777 h 316176"/>
              <a:gd name="connsiteX88" fmla="*/ 156294 w 330369"/>
              <a:gd name="connsiteY88" fmla="*/ 106282 h 316176"/>
              <a:gd name="connsiteX89" fmla="*/ 154811 w 330369"/>
              <a:gd name="connsiteY89" fmla="*/ 91909 h 316176"/>
              <a:gd name="connsiteX90" fmla="*/ 147853 w 330369"/>
              <a:gd name="connsiteY90" fmla="*/ 85407 h 316176"/>
              <a:gd name="connsiteX91" fmla="*/ 144887 w 330369"/>
              <a:gd name="connsiteY91" fmla="*/ 82783 h 316176"/>
              <a:gd name="connsiteX92" fmla="*/ 151617 w 330369"/>
              <a:gd name="connsiteY92" fmla="*/ 79133 h 316176"/>
              <a:gd name="connsiteX93" fmla="*/ 229187 w 330369"/>
              <a:gd name="connsiteY93" fmla="*/ 79133 h 316176"/>
              <a:gd name="connsiteX94" fmla="*/ 239111 w 330369"/>
              <a:gd name="connsiteY94" fmla="*/ 89285 h 316176"/>
              <a:gd name="connsiteX95" fmla="*/ 239111 w 330369"/>
              <a:gd name="connsiteY95" fmla="*/ 166855 h 316176"/>
              <a:gd name="connsiteX96" fmla="*/ 158462 w 330369"/>
              <a:gd name="connsiteY96" fmla="*/ 70007 h 316176"/>
              <a:gd name="connsiteX97" fmla="*/ 135761 w 330369"/>
              <a:gd name="connsiteY97" fmla="*/ 79133 h 316176"/>
              <a:gd name="connsiteX98" fmla="*/ 112262 w 330369"/>
              <a:gd name="connsiteY98" fmla="*/ 68182 h 316176"/>
              <a:gd name="connsiteX99" fmla="*/ 110437 w 330369"/>
              <a:gd name="connsiteY99" fmla="*/ 67269 h 316176"/>
              <a:gd name="connsiteX100" fmla="*/ 105988 w 330369"/>
              <a:gd name="connsiteY100" fmla="*/ 65216 h 316176"/>
              <a:gd name="connsiteX101" fmla="*/ 99372 w 330369"/>
              <a:gd name="connsiteY101" fmla="*/ 67269 h 316176"/>
              <a:gd name="connsiteX102" fmla="*/ 102338 w 330369"/>
              <a:gd name="connsiteY102" fmla="*/ 73543 h 316176"/>
              <a:gd name="connsiteX103" fmla="*/ 111349 w 330369"/>
              <a:gd name="connsiteY103" fmla="*/ 77764 h 316176"/>
              <a:gd name="connsiteX104" fmla="*/ 135875 w 330369"/>
              <a:gd name="connsiteY104" fmla="*/ 89285 h 316176"/>
              <a:gd name="connsiteX105" fmla="*/ 146142 w 330369"/>
              <a:gd name="connsiteY105" fmla="*/ 95902 h 316176"/>
              <a:gd name="connsiteX106" fmla="*/ 147511 w 330369"/>
              <a:gd name="connsiteY106" fmla="*/ 96928 h 316176"/>
              <a:gd name="connsiteX107" fmla="*/ 147967 w 330369"/>
              <a:gd name="connsiteY107" fmla="*/ 102518 h 316176"/>
              <a:gd name="connsiteX108" fmla="*/ 132453 w 330369"/>
              <a:gd name="connsiteY108" fmla="*/ 106967 h 316176"/>
              <a:gd name="connsiteX109" fmla="*/ 113403 w 330369"/>
              <a:gd name="connsiteY109" fmla="*/ 98069 h 316176"/>
              <a:gd name="connsiteX110" fmla="*/ 87508 w 330369"/>
              <a:gd name="connsiteY110" fmla="*/ 92023 h 316176"/>
              <a:gd name="connsiteX111" fmla="*/ 86710 w 330369"/>
              <a:gd name="connsiteY111" fmla="*/ 92023 h 316176"/>
              <a:gd name="connsiteX112" fmla="*/ 58762 w 330369"/>
              <a:gd name="connsiteY112" fmla="*/ 85749 h 316176"/>
              <a:gd name="connsiteX113" fmla="*/ 44731 w 330369"/>
              <a:gd name="connsiteY113" fmla="*/ 79133 h 316176"/>
              <a:gd name="connsiteX114" fmla="*/ 39826 w 330369"/>
              <a:gd name="connsiteY114" fmla="*/ 76851 h 316176"/>
              <a:gd name="connsiteX115" fmla="*/ 60473 w 330369"/>
              <a:gd name="connsiteY115" fmla="*/ 32819 h 316176"/>
              <a:gd name="connsiteX116" fmla="*/ 61271 w 330369"/>
              <a:gd name="connsiteY116" fmla="*/ 33161 h 316176"/>
              <a:gd name="connsiteX117" fmla="*/ 63895 w 330369"/>
              <a:gd name="connsiteY117" fmla="*/ 34416 h 316176"/>
              <a:gd name="connsiteX118" fmla="*/ 97318 w 330369"/>
              <a:gd name="connsiteY118" fmla="*/ 42401 h 316176"/>
              <a:gd name="connsiteX119" fmla="*/ 127206 w 330369"/>
              <a:gd name="connsiteY119" fmla="*/ 44112 h 316176"/>
              <a:gd name="connsiteX120" fmla="*/ 130057 w 330369"/>
              <a:gd name="connsiteY120" fmla="*/ 44340 h 316176"/>
              <a:gd name="connsiteX121" fmla="*/ 150933 w 330369"/>
              <a:gd name="connsiteY121" fmla="*/ 56090 h 316176"/>
              <a:gd name="connsiteX122" fmla="*/ 157663 w 330369"/>
              <a:gd name="connsiteY122" fmla="*/ 66014 h 316176"/>
              <a:gd name="connsiteX123" fmla="*/ 160401 w 330369"/>
              <a:gd name="connsiteY123" fmla="*/ 70121 h 316176"/>
              <a:gd name="connsiteX124" fmla="*/ 158119 w 330369"/>
              <a:gd name="connsiteY124" fmla="*/ 70121 h 316176"/>
              <a:gd name="connsiteX125" fmla="*/ 133594 w 330369"/>
              <a:gd name="connsiteY125" fmla="*/ 187958 h 316176"/>
              <a:gd name="connsiteX126" fmla="*/ 125152 w 330369"/>
              <a:gd name="connsiteY126" fmla="*/ 187958 h 316176"/>
              <a:gd name="connsiteX127" fmla="*/ 125152 w 330369"/>
              <a:gd name="connsiteY127" fmla="*/ 187958 h 316176"/>
              <a:gd name="connsiteX128" fmla="*/ 120475 w 330369"/>
              <a:gd name="connsiteY128" fmla="*/ 189555 h 316176"/>
              <a:gd name="connsiteX129" fmla="*/ 119334 w 330369"/>
              <a:gd name="connsiteY129" fmla="*/ 192635 h 316176"/>
              <a:gd name="connsiteX130" fmla="*/ 125038 w 330369"/>
              <a:gd name="connsiteY130" fmla="*/ 196970 h 316176"/>
              <a:gd name="connsiteX131" fmla="*/ 253256 w 330369"/>
              <a:gd name="connsiteY131" fmla="*/ 196970 h 316176"/>
              <a:gd name="connsiteX132" fmla="*/ 255424 w 330369"/>
              <a:gd name="connsiteY132" fmla="*/ 196970 h 316176"/>
              <a:gd name="connsiteX133" fmla="*/ 258162 w 330369"/>
              <a:gd name="connsiteY133" fmla="*/ 196970 h 316176"/>
              <a:gd name="connsiteX134" fmla="*/ 261812 w 330369"/>
              <a:gd name="connsiteY134" fmla="*/ 195944 h 316176"/>
              <a:gd name="connsiteX135" fmla="*/ 263409 w 330369"/>
              <a:gd name="connsiteY135" fmla="*/ 192521 h 316176"/>
              <a:gd name="connsiteX136" fmla="*/ 262268 w 330369"/>
              <a:gd name="connsiteY136" fmla="*/ 189327 h 316176"/>
              <a:gd name="connsiteX137" fmla="*/ 258390 w 330369"/>
              <a:gd name="connsiteY137" fmla="*/ 187958 h 316176"/>
              <a:gd name="connsiteX138" fmla="*/ 258390 w 330369"/>
              <a:gd name="connsiteY138" fmla="*/ 187958 h 316176"/>
              <a:gd name="connsiteX139" fmla="*/ 251203 w 330369"/>
              <a:gd name="connsiteY139" fmla="*/ 187958 h 316176"/>
              <a:gd name="connsiteX140" fmla="*/ 248579 w 330369"/>
              <a:gd name="connsiteY140" fmla="*/ 187958 h 316176"/>
              <a:gd name="connsiteX141" fmla="*/ 248579 w 330369"/>
              <a:gd name="connsiteY141" fmla="*/ 165030 h 316176"/>
              <a:gd name="connsiteX142" fmla="*/ 261013 w 330369"/>
              <a:gd name="connsiteY142" fmla="*/ 165030 h 316176"/>
              <a:gd name="connsiteX143" fmla="*/ 283942 w 330369"/>
              <a:gd name="connsiteY143" fmla="*/ 165030 h 316176"/>
              <a:gd name="connsiteX144" fmla="*/ 286566 w 330369"/>
              <a:gd name="connsiteY144" fmla="*/ 166399 h 316176"/>
              <a:gd name="connsiteX145" fmla="*/ 315883 w 330369"/>
              <a:gd name="connsiteY145" fmla="*/ 216933 h 316176"/>
              <a:gd name="connsiteX146" fmla="*/ 317365 w 330369"/>
              <a:gd name="connsiteY146" fmla="*/ 219557 h 316176"/>
              <a:gd name="connsiteX147" fmla="*/ 317365 w 330369"/>
              <a:gd name="connsiteY147" fmla="*/ 219785 h 316176"/>
              <a:gd name="connsiteX148" fmla="*/ 65948 w 330369"/>
              <a:gd name="connsiteY148" fmla="*/ 219785 h 316176"/>
              <a:gd name="connsiteX149" fmla="*/ 67545 w 330369"/>
              <a:gd name="connsiteY149" fmla="*/ 216819 h 316176"/>
              <a:gd name="connsiteX150" fmla="*/ 71766 w 330369"/>
              <a:gd name="connsiteY150" fmla="*/ 209176 h 316176"/>
              <a:gd name="connsiteX151" fmla="*/ 80778 w 330369"/>
              <a:gd name="connsiteY151" fmla="*/ 193548 h 316176"/>
              <a:gd name="connsiteX152" fmla="*/ 95950 w 330369"/>
              <a:gd name="connsiteY152" fmla="*/ 167311 h 316176"/>
              <a:gd name="connsiteX153" fmla="*/ 100056 w 330369"/>
              <a:gd name="connsiteY153" fmla="*/ 164916 h 316176"/>
              <a:gd name="connsiteX154" fmla="*/ 100056 w 330369"/>
              <a:gd name="connsiteY154" fmla="*/ 164916 h 316176"/>
              <a:gd name="connsiteX155" fmla="*/ 131654 w 330369"/>
              <a:gd name="connsiteY155" fmla="*/ 164916 h 316176"/>
              <a:gd name="connsiteX156" fmla="*/ 133137 w 330369"/>
              <a:gd name="connsiteY156" fmla="*/ 165030 h 316176"/>
              <a:gd name="connsiteX157" fmla="*/ 133480 w 330369"/>
              <a:gd name="connsiteY157" fmla="*/ 165030 h 316176"/>
              <a:gd name="connsiteX158" fmla="*/ 133480 w 330369"/>
              <a:gd name="connsiteY158" fmla="*/ 187844 h 316176"/>
              <a:gd name="connsiteX159" fmla="*/ 24768 w 330369"/>
              <a:gd name="connsiteY159" fmla="*/ 86319 h 316176"/>
              <a:gd name="connsiteX160" fmla="*/ 21118 w 330369"/>
              <a:gd name="connsiteY160" fmla="*/ 85407 h 316176"/>
              <a:gd name="connsiteX161" fmla="*/ 11079 w 330369"/>
              <a:gd name="connsiteY161" fmla="*/ 80616 h 316176"/>
              <a:gd name="connsiteX162" fmla="*/ 9026 w 330369"/>
              <a:gd name="connsiteY162" fmla="*/ 78791 h 316176"/>
              <a:gd name="connsiteX163" fmla="*/ 9368 w 330369"/>
              <a:gd name="connsiteY163" fmla="*/ 76167 h 316176"/>
              <a:gd name="connsiteX164" fmla="*/ 23285 w 330369"/>
              <a:gd name="connsiteY164" fmla="*/ 46508 h 316176"/>
              <a:gd name="connsiteX165" fmla="*/ 39598 w 330369"/>
              <a:gd name="connsiteY165" fmla="*/ 11830 h 316176"/>
              <a:gd name="connsiteX166" fmla="*/ 41765 w 330369"/>
              <a:gd name="connsiteY166" fmla="*/ 9092 h 316176"/>
              <a:gd name="connsiteX167" fmla="*/ 42107 w 330369"/>
              <a:gd name="connsiteY167" fmla="*/ 9092 h 316176"/>
              <a:gd name="connsiteX168" fmla="*/ 42792 w 330369"/>
              <a:gd name="connsiteY168" fmla="*/ 9320 h 316176"/>
              <a:gd name="connsiteX169" fmla="*/ 42792 w 330369"/>
              <a:gd name="connsiteY169" fmla="*/ 9320 h 316176"/>
              <a:gd name="connsiteX170" fmla="*/ 46670 w 330369"/>
              <a:gd name="connsiteY170" fmla="*/ 11259 h 316176"/>
              <a:gd name="connsiteX171" fmla="*/ 56708 w 330369"/>
              <a:gd name="connsiteY171" fmla="*/ 16507 h 316176"/>
              <a:gd name="connsiteX172" fmla="*/ 56366 w 330369"/>
              <a:gd name="connsiteY172" fmla="*/ 20157 h 316176"/>
              <a:gd name="connsiteX173" fmla="*/ 56366 w 330369"/>
              <a:gd name="connsiteY173" fmla="*/ 20385 h 316176"/>
              <a:gd name="connsiteX174" fmla="*/ 43590 w 330369"/>
              <a:gd name="connsiteY174" fmla="*/ 47763 h 316176"/>
              <a:gd name="connsiteX175" fmla="*/ 38685 w 330369"/>
              <a:gd name="connsiteY175" fmla="*/ 58143 h 316176"/>
              <a:gd name="connsiteX176" fmla="*/ 32867 w 330369"/>
              <a:gd name="connsiteY176" fmla="*/ 70805 h 316176"/>
              <a:gd name="connsiteX177" fmla="*/ 27049 w 330369"/>
              <a:gd name="connsiteY177" fmla="*/ 83468 h 316176"/>
              <a:gd name="connsiteX178" fmla="*/ 24882 w 330369"/>
              <a:gd name="connsiteY178" fmla="*/ 86433 h 31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30369" h="316176">
                <a:moveTo>
                  <a:pt x="329685" y="224918"/>
                </a:moveTo>
                <a:cubicBezTo>
                  <a:pt x="329685" y="223663"/>
                  <a:pt x="329229" y="222295"/>
                  <a:pt x="328545" y="220926"/>
                </a:cubicBezTo>
                <a:cubicBezTo>
                  <a:pt x="323069" y="211572"/>
                  <a:pt x="317708" y="202104"/>
                  <a:pt x="312232" y="192749"/>
                </a:cubicBezTo>
                <a:cubicBezTo>
                  <a:pt x="305730" y="181570"/>
                  <a:pt x="299342" y="170391"/>
                  <a:pt x="292840" y="159212"/>
                </a:cubicBezTo>
                <a:cubicBezTo>
                  <a:pt x="291471" y="156817"/>
                  <a:pt x="289760" y="155790"/>
                  <a:pt x="287136" y="155790"/>
                </a:cubicBezTo>
                <a:lnTo>
                  <a:pt x="287136" y="155790"/>
                </a:lnTo>
                <a:cubicBezTo>
                  <a:pt x="282459" y="155790"/>
                  <a:pt x="277896" y="155790"/>
                  <a:pt x="273219" y="155790"/>
                </a:cubicBezTo>
                <a:cubicBezTo>
                  <a:pt x="271166" y="155790"/>
                  <a:pt x="269113" y="155790"/>
                  <a:pt x="267173" y="155790"/>
                </a:cubicBezTo>
                <a:cubicBezTo>
                  <a:pt x="262953" y="155790"/>
                  <a:pt x="258846" y="155790"/>
                  <a:pt x="254511" y="155790"/>
                </a:cubicBezTo>
                <a:lnTo>
                  <a:pt x="248579" y="155790"/>
                </a:lnTo>
                <a:lnTo>
                  <a:pt x="248579" y="125218"/>
                </a:lnTo>
                <a:cubicBezTo>
                  <a:pt x="248579" y="112784"/>
                  <a:pt x="248579" y="100350"/>
                  <a:pt x="248579" y="87916"/>
                </a:cubicBezTo>
                <a:cubicBezTo>
                  <a:pt x="248579" y="77536"/>
                  <a:pt x="241165" y="69893"/>
                  <a:pt x="231126" y="69893"/>
                </a:cubicBezTo>
                <a:lnTo>
                  <a:pt x="231126" y="69893"/>
                </a:lnTo>
                <a:cubicBezTo>
                  <a:pt x="212304" y="69893"/>
                  <a:pt x="193368" y="69893"/>
                  <a:pt x="174546" y="69893"/>
                </a:cubicBezTo>
                <a:lnTo>
                  <a:pt x="174546" y="69893"/>
                </a:lnTo>
                <a:cubicBezTo>
                  <a:pt x="172721" y="69893"/>
                  <a:pt x="171694" y="69322"/>
                  <a:pt x="170782" y="67954"/>
                </a:cubicBezTo>
                <a:cubicBezTo>
                  <a:pt x="167588" y="63048"/>
                  <a:pt x="164279" y="58143"/>
                  <a:pt x="161199" y="53466"/>
                </a:cubicBezTo>
                <a:lnTo>
                  <a:pt x="160287" y="52097"/>
                </a:lnTo>
                <a:cubicBezTo>
                  <a:pt x="153328" y="41717"/>
                  <a:pt x="143974" y="36013"/>
                  <a:pt x="132567" y="35101"/>
                </a:cubicBezTo>
                <a:cubicBezTo>
                  <a:pt x="115570" y="33732"/>
                  <a:pt x="101881" y="32933"/>
                  <a:pt x="89219" y="32591"/>
                </a:cubicBezTo>
                <a:cubicBezTo>
                  <a:pt x="82261" y="32363"/>
                  <a:pt x="76557" y="29625"/>
                  <a:pt x="70397" y="26773"/>
                </a:cubicBezTo>
                <a:cubicBezTo>
                  <a:pt x="68572" y="25975"/>
                  <a:pt x="66747" y="25062"/>
                  <a:pt x="64922" y="24264"/>
                </a:cubicBezTo>
                <a:lnTo>
                  <a:pt x="64922" y="23921"/>
                </a:lnTo>
                <a:cubicBezTo>
                  <a:pt x="64922" y="23921"/>
                  <a:pt x="65264" y="23237"/>
                  <a:pt x="65378" y="23009"/>
                </a:cubicBezTo>
                <a:cubicBezTo>
                  <a:pt x="68458" y="15480"/>
                  <a:pt x="66177" y="9776"/>
                  <a:pt x="58876" y="6468"/>
                </a:cubicBezTo>
                <a:cubicBezTo>
                  <a:pt x="56252" y="5213"/>
                  <a:pt x="53514" y="3959"/>
                  <a:pt x="50891" y="2704"/>
                </a:cubicBezTo>
                <a:lnTo>
                  <a:pt x="48153" y="1449"/>
                </a:lnTo>
                <a:cubicBezTo>
                  <a:pt x="41309" y="-1745"/>
                  <a:pt x="34920" y="422"/>
                  <a:pt x="31840" y="7153"/>
                </a:cubicBezTo>
                <a:cubicBezTo>
                  <a:pt x="21460" y="29169"/>
                  <a:pt x="11193" y="51071"/>
                  <a:pt x="1383" y="72288"/>
                </a:cubicBezTo>
                <a:cubicBezTo>
                  <a:pt x="-1697" y="78791"/>
                  <a:pt x="470" y="84950"/>
                  <a:pt x="6859" y="88259"/>
                </a:cubicBezTo>
                <a:cubicBezTo>
                  <a:pt x="9938" y="89856"/>
                  <a:pt x="13247" y="91338"/>
                  <a:pt x="16441" y="92821"/>
                </a:cubicBezTo>
                <a:lnTo>
                  <a:pt x="19064" y="94076"/>
                </a:lnTo>
                <a:cubicBezTo>
                  <a:pt x="25567" y="97042"/>
                  <a:pt x="31726" y="94875"/>
                  <a:pt x="35034" y="88487"/>
                </a:cubicBezTo>
                <a:cubicBezTo>
                  <a:pt x="35491" y="87574"/>
                  <a:pt x="35947" y="86662"/>
                  <a:pt x="36517" y="85635"/>
                </a:cubicBezTo>
                <a:lnTo>
                  <a:pt x="36746" y="85065"/>
                </a:lnTo>
                <a:lnTo>
                  <a:pt x="41309" y="87232"/>
                </a:lnTo>
                <a:cubicBezTo>
                  <a:pt x="46556" y="89627"/>
                  <a:pt x="51575" y="92023"/>
                  <a:pt x="56708" y="94419"/>
                </a:cubicBezTo>
                <a:cubicBezTo>
                  <a:pt x="66062" y="98753"/>
                  <a:pt x="75188" y="100921"/>
                  <a:pt x="84314" y="100921"/>
                </a:cubicBezTo>
                <a:cubicBezTo>
                  <a:pt x="84770" y="100921"/>
                  <a:pt x="85113" y="100921"/>
                  <a:pt x="85569" y="100921"/>
                </a:cubicBezTo>
                <a:cubicBezTo>
                  <a:pt x="94353" y="100693"/>
                  <a:pt x="103022" y="102746"/>
                  <a:pt x="112262" y="107195"/>
                </a:cubicBezTo>
                <a:cubicBezTo>
                  <a:pt x="117281" y="109590"/>
                  <a:pt x="122415" y="111986"/>
                  <a:pt x="127434" y="114267"/>
                </a:cubicBezTo>
                <a:cubicBezTo>
                  <a:pt x="129601" y="115294"/>
                  <a:pt x="131769" y="116321"/>
                  <a:pt x="134050" y="117347"/>
                </a:cubicBezTo>
                <a:lnTo>
                  <a:pt x="134050" y="155790"/>
                </a:lnTo>
                <a:lnTo>
                  <a:pt x="133366" y="155790"/>
                </a:lnTo>
                <a:cubicBezTo>
                  <a:pt x="132681" y="155790"/>
                  <a:pt x="131997" y="155790"/>
                  <a:pt x="131426" y="155790"/>
                </a:cubicBezTo>
                <a:lnTo>
                  <a:pt x="121844" y="155790"/>
                </a:lnTo>
                <a:cubicBezTo>
                  <a:pt x="113745" y="155790"/>
                  <a:pt x="105418" y="155904"/>
                  <a:pt x="97204" y="155904"/>
                </a:cubicBezTo>
                <a:lnTo>
                  <a:pt x="97204" y="155904"/>
                </a:lnTo>
                <a:cubicBezTo>
                  <a:pt x="94124" y="155904"/>
                  <a:pt x="91957" y="157159"/>
                  <a:pt x="90360" y="159897"/>
                </a:cubicBezTo>
                <a:cubicBezTo>
                  <a:pt x="83516" y="171874"/>
                  <a:pt x="76557" y="183852"/>
                  <a:pt x="69713" y="195830"/>
                </a:cubicBezTo>
                <a:cubicBezTo>
                  <a:pt x="64922" y="204157"/>
                  <a:pt x="60131" y="212484"/>
                  <a:pt x="55340" y="220812"/>
                </a:cubicBezTo>
                <a:cubicBezTo>
                  <a:pt x="54427" y="222295"/>
                  <a:pt x="53971" y="223663"/>
                  <a:pt x="53971" y="224690"/>
                </a:cubicBezTo>
                <a:cubicBezTo>
                  <a:pt x="53971" y="229937"/>
                  <a:pt x="53971" y="235299"/>
                  <a:pt x="53971" y="240432"/>
                </a:cubicBezTo>
                <a:lnTo>
                  <a:pt x="53971" y="245451"/>
                </a:lnTo>
                <a:cubicBezTo>
                  <a:pt x="53971" y="248189"/>
                  <a:pt x="55568" y="249786"/>
                  <a:pt x="58419" y="250014"/>
                </a:cubicBezTo>
                <a:cubicBezTo>
                  <a:pt x="59903" y="250128"/>
                  <a:pt x="61386" y="250014"/>
                  <a:pt x="62868" y="250014"/>
                </a:cubicBezTo>
                <a:lnTo>
                  <a:pt x="64123" y="250014"/>
                </a:lnTo>
                <a:cubicBezTo>
                  <a:pt x="69371" y="250014"/>
                  <a:pt x="74618" y="250014"/>
                  <a:pt x="79979" y="250014"/>
                </a:cubicBezTo>
                <a:lnTo>
                  <a:pt x="87736" y="250014"/>
                </a:lnTo>
                <a:lnTo>
                  <a:pt x="87736" y="253779"/>
                </a:lnTo>
                <a:cubicBezTo>
                  <a:pt x="87736" y="272258"/>
                  <a:pt x="87736" y="290852"/>
                  <a:pt x="87736" y="309332"/>
                </a:cubicBezTo>
                <a:cubicBezTo>
                  <a:pt x="87736" y="315036"/>
                  <a:pt x="88877" y="316177"/>
                  <a:pt x="94581" y="316177"/>
                </a:cubicBezTo>
                <a:lnTo>
                  <a:pt x="124696" y="316177"/>
                </a:lnTo>
                <a:cubicBezTo>
                  <a:pt x="139754" y="316177"/>
                  <a:pt x="154811" y="316177"/>
                  <a:pt x="169869" y="316177"/>
                </a:cubicBezTo>
                <a:lnTo>
                  <a:pt x="289532" y="316177"/>
                </a:lnTo>
                <a:cubicBezTo>
                  <a:pt x="295463" y="316177"/>
                  <a:pt x="296718" y="315036"/>
                  <a:pt x="296718" y="309218"/>
                </a:cubicBezTo>
                <a:cubicBezTo>
                  <a:pt x="296718" y="290510"/>
                  <a:pt x="296718" y="271688"/>
                  <a:pt x="296718" y="252980"/>
                </a:cubicBezTo>
                <a:lnTo>
                  <a:pt x="296718" y="249900"/>
                </a:lnTo>
                <a:lnTo>
                  <a:pt x="303334" y="249900"/>
                </a:lnTo>
                <a:cubicBezTo>
                  <a:pt x="310407" y="249900"/>
                  <a:pt x="317251" y="249900"/>
                  <a:pt x="324210" y="249900"/>
                </a:cubicBezTo>
                <a:lnTo>
                  <a:pt x="324210" y="249900"/>
                </a:lnTo>
                <a:cubicBezTo>
                  <a:pt x="328773" y="249900"/>
                  <a:pt x="330370" y="248417"/>
                  <a:pt x="330370" y="243968"/>
                </a:cubicBezTo>
                <a:cubicBezTo>
                  <a:pt x="330370" y="237694"/>
                  <a:pt x="330370" y="231078"/>
                  <a:pt x="330370" y="224576"/>
                </a:cubicBezTo>
                <a:close/>
                <a:moveTo>
                  <a:pt x="286908" y="250471"/>
                </a:moveTo>
                <a:lnTo>
                  <a:pt x="286908" y="307165"/>
                </a:lnTo>
                <a:lnTo>
                  <a:pt x="96178" y="307165"/>
                </a:lnTo>
                <a:lnTo>
                  <a:pt x="96178" y="250471"/>
                </a:lnTo>
                <a:lnTo>
                  <a:pt x="286908" y="250471"/>
                </a:lnTo>
                <a:close/>
                <a:moveTo>
                  <a:pt x="320560" y="229025"/>
                </a:moveTo>
                <a:lnTo>
                  <a:pt x="320560" y="241003"/>
                </a:lnTo>
                <a:lnTo>
                  <a:pt x="62640" y="241003"/>
                </a:lnTo>
                <a:lnTo>
                  <a:pt x="62640" y="229025"/>
                </a:lnTo>
                <a:lnTo>
                  <a:pt x="320560" y="229025"/>
                </a:lnTo>
                <a:close/>
                <a:moveTo>
                  <a:pt x="239111" y="166855"/>
                </a:moveTo>
                <a:lnTo>
                  <a:pt x="239111" y="187616"/>
                </a:lnTo>
                <a:lnTo>
                  <a:pt x="142948" y="187616"/>
                </a:lnTo>
                <a:lnTo>
                  <a:pt x="142948" y="116777"/>
                </a:lnTo>
                <a:cubicBezTo>
                  <a:pt x="148880" y="115066"/>
                  <a:pt x="153328" y="111529"/>
                  <a:pt x="156294" y="106282"/>
                </a:cubicBezTo>
                <a:cubicBezTo>
                  <a:pt x="159260" y="101149"/>
                  <a:pt x="158690" y="95902"/>
                  <a:pt x="154811" y="91909"/>
                </a:cubicBezTo>
                <a:cubicBezTo>
                  <a:pt x="152644" y="89627"/>
                  <a:pt x="150248" y="87574"/>
                  <a:pt x="147853" y="85407"/>
                </a:cubicBezTo>
                <a:cubicBezTo>
                  <a:pt x="146826" y="84494"/>
                  <a:pt x="145914" y="83696"/>
                  <a:pt x="144887" y="82783"/>
                </a:cubicBezTo>
                <a:cubicBezTo>
                  <a:pt x="146484" y="80502"/>
                  <a:pt x="148880" y="79247"/>
                  <a:pt x="151617" y="79133"/>
                </a:cubicBezTo>
                <a:cubicBezTo>
                  <a:pt x="180592" y="79133"/>
                  <a:pt x="206030" y="79133"/>
                  <a:pt x="229187" y="79133"/>
                </a:cubicBezTo>
                <a:cubicBezTo>
                  <a:pt x="235575" y="79133"/>
                  <a:pt x="239111" y="82783"/>
                  <a:pt x="239111" y="89285"/>
                </a:cubicBezTo>
                <a:cubicBezTo>
                  <a:pt x="239111" y="115066"/>
                  <a:pt x="239111" y="140960"/>
                  <a:pt x="239111" y="166855"/>
                </a:cubicBezTo>
                <a:close/>
                <a:moveTo>
                  <a:pt x="158462" y="70007"/>
                </a:moveTo>
                <a:cubicBezTo>
                  <a:pt x="149906" y="70007"/>
                  <a:pt x="140894" y="69779"/>
                  <a:pt x="135761" y="79133"/>
                </a:cubicBezTo>
                <a:lnTo>
                  <a:pt x="112262" y="68182"/>
                </a:lnTo>
                <a:cubicBezTo>
                  <a:pt x="111692" y="67839"/>
                  <a:pt x="111007" y="67611"/>
                  <a:pt x="110437" y="67269"/>
                </a:cubicBezTo>
                <a:cubicBezTo>
                  <a:pt x="108954" y="66585"/>
                  <a:pt x="107471" y="65900"/>
                  <a:pt x="105988" y="65216"/>
                </a:cubicBezTo>
                <a:cubicBezTo>
                  <a:pt x="102908" y="63961"/>
                  <a:pt x="100513" y="64759"/>
                  <a:pt x="99372" y="67269"/>
                </a:cubicBezTo>
                <a:cubicBezTo>
                  <a:pt x="98231" y="69893"/>
                  <a:pt x="99258" y="72174"/>
                  <a:pt x="102338" y="73543"/>
                </a:cubicBezTo>
                <a:cubicBezTo>
                  <a:pt x="105304" y="74912"/>
                  <a:pt x="108384" y="76281"/>
                  <a:pt x="111349" y="77764"/>
                </a:cubicBezTo>
                <a:cubicBezTo>
                  <a:pt x="119449" y="81528"/>
                  <a:pt x="127776" y="85293"/>
                  <a:pt x="135875" y="89285"/>
                </a:cubicBezTo>
                <a:cubicBezTo>
                  <a:pt x="139525" y="91110"/>
                  <a:pt x="142834" y="93506"/>
                  <a:pt x="146142" y="95902"/>
                </a:cubicBezTo>
                <a:lnTo>
                  <a:pt x="147511" y="96928"/>
                </a:lnTo>
                <a:cubicBezTo>
                  <a:pt x="149336" y="98297"/>
                  <a:pt x="149564" y="100122"/>
                  <a:pt x="147967" y="102518"/>
                </a:cubicBezTo>
                <a:cubicBezTo>
                  <a:pt x="144773" y="107537"/>
                  <a:pt x="138043" y="109476"/>
                  <a:pt x="132453" y="106967"/>
                </a:cubicBezTo>
                <a:cubicBezTo>
                  <a:pt x="127206" y="104571"/>
                  <a:pt x="120361" y="101377"/>
                  <a:pt x="113403" y="98069"/>
                </a:cubicBezTo>
                <a:cubicBezTo>
                  <a:pt x="105190" y="94076"/>
                  <a:pt x="96520" y="92023"/>
                  <a:pt x="87508" y="92023"/>
                </a:cubicBezTo>
                <a:cubicBezTo>
                  <a:pt x="87280" y="92023"/>
                  <a:pt x="86938" y="92023"/>
                  <a:pt x="86710" y="92023"/>
                </a:cubicBezTo>
                <a:cubicBezTo>
                  <a:pt x="76785" y="92023"/>
                  <a:pt x="67659" y="89970"/>
                  <a:pt x="58762" y="85749"/>
                </a:cubicBezTo>
                <a:cubicBezTo>
                  <a:pt x="54199" y="83582"/>
                  <a:pt x="49522" y="81414"/>
                  <a:pt x="44731" y="79133"/>
                </a:cubicBezTo>
                <a:lnTo>
                  <a:pt x="39826" y="76851"/>
                </a:lnTo>
                <a:lnTo>
                  <a:pt x="60473" y="32819"/>
                </a:lnTo>
                <a:cubicBezTo>
                  <a:pt x="60473" y="32819"/>
                  <a:pt x="61043" y="33047"/>
                  <a:pt x="61271" y="33161"/>
                </a:cubicBezTo>
                <a:cubicBezTo>
                  <a:pt x="62184" y="33504"/>
                  <a:pt x="63097" y="33960"/>
                  <a:pt x="63895" y="34416"/>
                </a:cubicBezTo>
                <a:cubicBezTo>
                  <a:pt x="75074" y="40918"/>
                  <a:pt x="87052" y="42173"/>
                  <a:pt x="97318" y="42401"/>
                </a:cubicBezTo>
                <a:cubicBezTo>
                  <a:pt x="107243" y="42629"/>
                  <a:pt x="117395" y="43428"/>
                  <a:pt x="127206" y="44112"/>
                </a:cubicBezTo>
                <a:lnTo>
                  <a:pt x="130057" y="44340"/>
                </a:lnTo>
                <a:cubicBezTo>
                  <a:pt x="138841" y="44911"/>
                  <a:pt x="145800" y="48903"/>
                  <a:pt x="150933" y="56090"/>
                </a:cubicBezTo>
                <a:cubicBezTo>
                  <a:pt x="153214" y="59284"/>
                  <a:pt x="155382" y="62592"/>
                  <a:pt x="157663" y="66014"/>
                </a:cubicBezTo>
                <a:cubicBezTo>
                  <a:pt x="158576" y="67383"/>
                  <a:pt x="159488" y="68752"/>
                  <a:pt x="160401" y="70121"/>
                </a:cubicBezTo>
                <a:lnTo>
                  <a:pt x="158119" y="70121"/>
                </a:lnTo>
                <a:close/>
                <a:moveTo>
                  <a:pt x="133594" y="187958"/>
                </a:moveTo>
                <a:cubicBezTo>
                  <a:pt x="130856" y="187958"/>
                  <a:pt x="128004" y="187958"/>
                  <a:pt x="125152" y="187958"/>
                </a:cubicBezTo>
                <a:lnTo>
                  <a:pt x="125152" y="187958"/>
                </a:lnTo>
                <a:cubicBezTo>
                  <a:pt x="123099" y="187958"/>
                  <a:pt x="121502" y="188529"/>
                  <a:pt x="120475" y="189555"/>
                </a:cubicBezTo>
                <a:cubicBezTo>
                  <a:pt x="119677" y="190354"/>
                  <a:pt x="119334" y="191381"/>
                  <a:pt x="119334" y="192635"/>
                </a:cubicBezTo>
                <a:cubicBezTo>
                  <a:pt x="119334" y="195373"/>
                  <a:pt x="121502" y="196970"/>
                  <a:pt x="125038" y="196970"/>
                </a:cubicBezTo>
                <a:lnTo>
                  <a:pt x="253256" y="196970"/>
                </a:lnTo>
                <a:cubicBezTo>
                  <a:pt x="253941" y="196970"/>
                  <a:pt x="254739" y="196970"/>
                  <a:pt x="255424" y="196970"/>
                </a:cubicBezTo>
                <a:cubicBezTo>
                  <a:pt x="256336" y="196970"/>
                  <a:pt x="257249" y="196970"/>
                  <a:pt x="258162" y="196970"/>
                </a:cubicBezTo>
                <a:cubicBezTo>
                  <a:pt x="259644" y="196970"/>
                  <a:pt x="261013" y="196628"/>
                  <a:pt x="261812" y="195944"/>
                </a:cubicBezTo>
                <a:cubicBezTo>
                  <a:pt x="262839" y="195145"/>
                  <a:pt x="263409" y="194004"/>
                  <a:pt x="263409" y="192521"/>
                </a:cubicBezTo>
                <a:cubicBezTo>
                  <a:pt x="263409" y="191152"/>
                  <a:pt x="263067" y="190126"/>
                  <a:pt x="262268" y="189327"/>
                </a:cubicBezTo>
                <a:cubicBezTo>
                  <a:pt x="261356" y="188415"/>
                  <a:pt x="259987" y="187958"/>
                  <a:pt x="258390" y="187958"/>
                </a:cubicBezTo>
                <a:lnTo>
                  <a:pt x="258390" y="187958"/>
                </a:lnTo>
                <a:cubicBezTo>
                  <a:pt x="255994" y="187958"/>
                  <a:pt x="253599" y="187958"/>
                  <a:pt x="251203" y="187958"/>
                </a:cubicBezTo>
                <a:lnTo>
                  <a:pt x="248579" y="187958"/>
                </a:lnTo>
                <a:lnTo>
                  <a:pt x="248579" y="165030"/>
                </a:lnTo>
                <a:lnTo>
                  <a:pt x="261013" y="165030"/>
                </a:lnTo>
                <a:cubicBezTo>
                  <a:pt x="268542" y="165030"/>
                  <a:pt x="276299" y="164916"/>
                  <a:pt x="283942" y="165030"/>
                </a:cubicBezTo>
                <a:cubicBezTo>
                  <a:pt x="284855" y="165030"/>
                  <a:pt x="286110" y="165714"/>
                  <a:pt x="286566" y="166399"/>
                </a:cubicBezTo>
                <a:cubicBezTo>
                  <a:pt x="296376" y="183167"/>
                  <a:pt x="306301" y="200278"/>
                  <a:pt x="315883" y="216933"/>
                </a:cubicBezTo>
                <a:lnTo>
                  <a:pt x="317365" y="219557"/>
                </a:lnTo>
                <a:lnTo>
                  <a:pt x="317365" y="219785"/>
                </a:lnTo>
                <a:lnTo>
                  <a:pt x="65948" y="219785"/>
                </a:lnTo>
                <a:cubicBezTo>
                  <a:pt x="66519" y="218758"/>
                  <a:pt x="67089" y="217732"/>
                  <a:pt x="67545" y="216819"/>
                </a:cubicBezTo>
                <a:cubicBezTo>
                  <a:pt x="69028" y="214195"/>
                  <a:pt x="70397" y="211686"/>
                  <a:pt x="71766" y="209176"/>
                </a:cubicBezTo>
                <a:cubicBezTo>
                  <a:pt x="74732" y="203929"/>
                  <a:pt x="77812" y="198795"/>
                  <a:pt x="80778" y="193548"/>
                </a:cubicBezTo>
                <a:cubicBezTo>
                  <a:pt x="85797" y="184993"/>
                  <a:pt x="90930" y="176095"/>
                  <a:pt x="95950" y="167311"/>
                </a:cubicBezTo>
                <a:cubicBezTo>
                  <a:pt x="96976" y="165486"/>
                  <a:pt x="98117" y="164916"/>
                  <a:pt x="100056" y="164916"/>
                </a:cubicBezTo>
                <a:lnTo>
                  <a:pt x="100056" y="164916"/>
                </a:lnTo>
                <a:cubicBezTo>
                  <a:pt x="110551" y="164916"/>
                  <a:pt x="121046" y="164916"/>
                  <a:pt x="131654" y="164916"/>
                </a:cubicBezTo>
                <a:cubicBezTo>
                  <a:pt x="132111" y="164916"/>
                  <a:pt x="132567" y="164916"/>
                  <a:pt x="133137" y="165030"/>
                </a:cubicBezTo>
                <a:lnTo>
                  <a:pt x="133480" y="165030"/>
                </a:lnTo>
                <a:lnTo>
                  <a:pt x="133480" y="187844"/>
                </a:lnTo>
                <a:close/>
                <a:moveTo>
                  <a:pt x="24768" y="86319"/>
                </a:moveTo>
                <a:cubicBezTo>
                  <a:pt x="23970" y="86662"/>
                  <a:pt x="22829" y="86205"/>
                  <a:pt x="21118" y="85407"/>
                </a:cubicBezTo>
                <a:cubicBezTo>
                  <a:pt x="17809" y="83810"/>
                  <a:pt x="14387" y="82213"/>
                  <a:pt x="11079" y="80616"/>
                </a:cubicBezTo>
                <a:cubicBezTo>
                  <a:pt x="9938" y="80045"/>
                  <a:pt x="9254" y="79475"/>
                  <a:pt x="9026" y="78791"/>
                </a:cubicBezTo>
                <a:cubicBezTo>
                  <a:pt x="8798" y="78106"/>
                  <a:pt x="8912" y="77194"/>
                  <a:pt x="9368" y="76167"/>
                </a:cubicBezTo>
                <a:cubicBezTo>
                  <a:pt x="14045" y="66242"/>
                  <a:pt x="18608" y="56432"/>
                  <a:pt x="23285" y="46508"/>
                </a:cubicBezTo>
                <a:cubicBezTo>
                  <a:pt x="28646" y="34987"/>
                  <a:pt x="34122" y="23465"/>
                  <a:pt x="39598" y="11830"/>
                </a:cubicBezTo>
                <a:cubicBezTo>
                  <a:pt x="40054" y="11031"/>
                  <a:pt x="40738" y="9434"/>
                  <a:pt x="41765" y="9092"/>
                </a:cubicBezTo>
                <a:cubicBezTo>
                  <a:pt x="41879" y="9092"/>
                  <a:pt x="41993" y="9092"/>
                  <a:pt x="42107" y="9092"/>
                </a:cubicBezTo>
                <a:cubicBezTo>
                  <a:pt x="42335" y="9092"/>
                  <a:pt x="42563" y="9092"/>
                  <a:pt x="42792" y="9320"/>
                </a:cubicBezTo>
                <a:lnTo>
                  <a:pt x="42792" y="9320"/>
                </a:lnTo>
                <a:cubicBezTo>
                  <a:pt x="44160" y="10004"/>
                  <a:pt x="45415" y="10689"/>
                  <a:pt x="46670" y="11259"/>
                </a:cubicBezTo>
                <a:cubicBezTo>
                  <a:pt x="50206" y="12970"/>
                  <a:pt x="53286" y="14453"/>
                  <a:pt x="56708" y="16507"/>
                </a:cubicBezTo>
                <a:cubicBezTo>
                  <a:pt x="57735" y="17077"/>
                  <a:pt x="57165" y="18674"/>
                  <a:pt x="56366" y="20157"/>
                </a:cubicBezTo>
                <a:lnTo>
                  <a:pt x="56366" y="20385"/>
                </a:lnTo>
                <a:cubicBezTo>
                  <a:pt x="52145" y="29511"/>
                  <a:pt x="47811" y="38751"/>
                  <a:pt x="43590" y="47763"/>
                </a:cubicBezTo>
                <a:cubicBezTo>
                  <a:pt x="41993" y="51185"/>
                  <a:pt x="40396" y="54721"/>
                  <a:pt x="38685" y="58143"/>
                </a:cubicBezTo>
                <a:cubicBezTo>
                  <a:pt x="36746" y="62364"/>
                  <a:pt x="34806" y="66585"/>
                  <a:pt x="32867" y="70805"/>
                </a:cubicBezTo>
                <a:cubicBezTo>
                  <a:pt x="30928" y="75026"/>
                  <a:pt x="28989" y="79247"/>
                  <a:pt x="27049" y="83468"/>
                </a:cubicBezTo>
                <a:cubicBezTo>
                  <a:pt x="26137" y="85407"/>
                  <a:pt x="25567" y="86205"/>
                  <a:pt x="24882" y="86433"/>
                </a:cubicBezTo>
                <a:close/>
              </a:path>
            </a:pathLst>
          </a:custGeom>
          <a:solidFill>
            <a:schemeClr val="accent5"/>
          </a:solidFill>
          <a:ln w="11403" cap="flat">
            <a:noFill/>
            <a:prstDash val="solid"/>
            <a:miter/>
          </a:ln>
        </p:spPr>
        <p:txBody>
          <a:bodyPr rtlCol="0" anchor="ctr"/>
          <a:lstStyle/>
          <a:p>
            <a:pPr defTabSz="466522"/>
            <a:endParaRPr lang="en-AU" sz="1000">
              <a:solidFill>
                <a:prstClr val="black"/>
              </a:solidFill>
            </a:endParaRPr>
          </a:p>
        </p:txBody>
      </p:sp>
      <p:cxnSp>
        <p:nvCxnSpPr>
          <p:cNvPr id="213" name="Straight Connector 212">
            <a:extLst>
              <a:ext uri="{FF2B5EF4-FFF2-40B4-BE49-F238E27FC236}">
                <a16:creationId xmlns:a16="http://schemas.microsoft.com/office/drawing/2014/main" id="{52D2EB93-26D9-63FA-E1B9-9A7D078251AE}"/>
              </a:ext>
              <a:ext uri="{C183D7F6-B498-43B3-948B-1728B52AA6E4}">
                <adec:decorative xmlns:adec="http://schemas.microsoft.com/office/drawing/2017/decorative" val="1"/>
              </a:ext>
            </a:extLst>
          </p:cNvPr>
          <p:cNvCxnSpPr>
            <a:cxnSpLocks/>
            <a:stCxn id="208" idx="6"/>
            <a:endCxn id="197" idx="2"/>
          </p:cNvCxnSpPr>
          <p:nvPr/>
        </p:nvCxnSpPr>
        <p:spPr>
          <a:xfrm>
            <a:off x="3999578" y="2372613"/>
            <a:ext cx="1505064"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BF50E7B-CE9A-F1EE-40EE-ACC6AADFD5F5}"/>
              </a:ext>
              <a:ext uri="{C183D7F6-B498-43B3-948B-1728B52AA6E4}">
                <adec:decorative xmlns:adec="http://schemas.microsoft.com/office/drawing/2017/decorative" val="1"/>
              </a:ext>
            </a:extLst>
          </p:cNvPr>
          <p:cNvCxnSpPr>
            <a:cxnSpLocks/>
          </p:cNvCxnSpPr>
          <p:nvPr/>
        </p:nvCxnSpPr>
        <p:spPr>
          <a:xfrm>
            <a:off x="5721940" y="2372613"/>
            <a:ext cx="1016192"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4623E582-4C73-8885-7C84-D5C6DC23A0D9}"/>
              </a:ext>
              <a:ext uri="{C183D7F6-B498-43B3-948B-1728B52AA6E4}">
                <adec:decorative xmlns:adec="http://schemas.microsoft.com/office/drawing/2017/decorative" val="1"/>
              </a:ext>
            </a:extLst>
          </p:cNvPr>
          <p:cNvCxnSpPr>
            <a:cxnSpLocks/>
          </p:cNvCxnSpPr>
          <p:nvPr/>
        </p:nvCxnSpPr>
        <p:spPr>
          <a:xfrm>
            <a:off x="6955430" y="2372613"/>
            <a:ext cx="1023177"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1F85CFCD-DC2C-6554-3168-F735A9DC2158}"/>
              </a:ext>
              <a:ext uri="{C183D7F6-B498-43B3-948B-1728B52AA6E4}">
                <adec:decorative xmlns:adec="http://schemas.microsoft.com/office/drawing/2017/decorative" val="1"/>
              </a:ext>
            </a:extLst>
          </p:cNvPr>
          <p:cNvCxnSpPr>
            <a:cxnSpLocks/>
            <a:endCxn id="221" idx="2"/>
          </p:cNvCxnSpPr>
          <p:nvPr/>
        </p:nvCxnSpPr>
        <p:spPr>
          <a:xfrm>
            <a:off x="8195905" y="2372613"/>
            <a:ext cx="1016194"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193" name="Oval 192">
            <a:extLst>
              <a:ext uri="{FF2B5EF4-FFF2-40B4-BE49-F238E27FC236}">
                <a16:creationId xmlns:a16="http://schemas.microsoft.com/office/drawing/2014/main" id="{D2831C36-C323-C290-84CF-9CCD94BBCA73}"/>
              </a:ext>
              <a:ext uri="{C183D7F6-B498-43B3-948B-1728B52AA6E4}">
                <adec:decorative xmlns:adec="http://schemas.microsoft.com/office/drawing/2017/decorative" val="1"/>
              </a:ext>
            </a:extLst>
          </p:cNvPr>
          <p:cNvSpPr/>
          <p:nvPr/>
        </p:nvSpPr>
        <p:spPr>
          <a:xfrm>
            <a:off x="2422207" y="2263964"/>
            <a:ext cx="216000"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accent6"/>
                </a:solidFill>
              </a:rPr>
              <a:t>1</a:t>
            </a:r>
          </a:p>
        </p:txBody>
      </p:sp>
      <p:cxnSp>
        <p:nvCxnSpPr>
          <p:cNvPr id="194" name="Straight Connector 193">
            <a:extLst>
              <a:ext uri="{FF2B5EF4-FFF2-40B4-BE49-F238E27FC236}">
                <a16:creationId xmlns:a16="http://schemas.microsoft.com/office/drawing/2014/main" id="{3F12B415-C0B3-BF84-2279-B23B3F536756}"/>
              </a:ext>
              <a:ext uri="{C183D7F6-B498-43B3-948B-1728B52AA6E4}">
                <adec:decorative xmlns:adec="http://schemas.microsoft.com/office/drawing/2017/decorative" val="1"/>
              </a:ext>
            </a:extLst>
          </p:cNvPr>
          <p:cNvCxnSpPr>
            <a:cxnSpLocks/>
            <a:stCxn id="193" idx="4"/>
          </p:cNvCxnSpPr>
          <p:nvPr/>
        </p:nvCxnSpPr>
        <p:spPr>
          <a:xfrm>
            <a:off x="2530207" y="2481262"/>
            <a:ext cx="7397"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195" name="Graphic 10">
            <a:extLst>
              <a:ext uri="{FF2B5EF4-FFF2-40B4-BE49-F238E27FC236}">
                <a16:creationId xmlns:a16="http://schemas.microsoft.com/office/drawing/2014/main" id="{C58CA80B-DEDF-BBB4-116D-4E47CF030532}"/>
              </a:ext>
              <a:ext uri="{C183D7F6-B498-43B3-948B-1728B52AA6E4}">
                <adec:decorative xmlns:adec="http://schemas.microsoft.com/office/drawing/2017/decorative" val="1"/>
              </a:ext>
            </a:extLst>
          </p:cNvPr>
          <p:cNvGrpSpPr/>
          <p:nvPr/>
        </p:nvGrpSpPr>
        <p:grpSpPr>
          <a:xfrm>
            <a:off x="5717115" y="2650575"/>
            <a:ext cx="200727" cy="230280"/>
            <a:chOff x="4807186" y="1430349"/>
            <a:chExt cx="228146" cy="277996"/>
          </a:xfrm>
          <a:solidFill>
            <a:schemeClr val="accent5"/>
          </a:solidFill>
        </p:grpSpPr>
        <p:sp>
          <p:nvSpPr>
            <p:cNvPr id="200" name="Freeform: Shape 199">
              <a:extLst>
                <a:ext uri="{FF2B5EF4-FFF2-40B4-BE49-F238E27FC236}">
                  <a16:creationId xmlns:a16="http://schemas.microsoft.com/office/drawing/2014/main" id="{B7CCA3BE-CC31-F3F2-C245-E97E3496CEF6}"/>
                </a:ext>
              </a:extLst>
            </p:cNvPr>
            <p:cNvSpPr/>
            <p:nvPr/>
          </p:nvSpPr>
          <p:spPr>
            <a:xfrm>
              <a:off x="4897988" y="1539288"/>
              <a:ext cx="87494" cy="10266"/>
            </a:xfrm>
            <a:custGeom>
              <a:avLst/>
              <a:gdLst>
                <a:gd name="connsiteX0" fmla="*/ 0 w 87494"/>
                <a:gd name="connsiteY0" fmla="*/ 5133 h 10266"/>
                <a:gd name="connsiteX1" fmla="*/ 4905 w 87494"/>
                <a:gd name="connsiteY1" fmla="*/ 10267 h 10266"/>
                <a:gd name="connsiteX2" fmla="*/ 82589 w 87494"/>
                <a:gd name="connsiteY2" fmla="*/ 10267 h 10266"/>
                <a:gd name="connsiteX3" fmla="*/ 87494 w 87494"/>
                <a:gd name="connsiteY3" fmla="*/ 5133 h 10266"/>
                <a:gd name="connsiteX4" fmla="*/ 82589 w 87494"/>
                <a:gd name="connsiteY4" fmla="*/ 0 h 10266"/>
                <a:gd name="connsiteX5" fmla="*/ 4905 w 87494"/>
                <a:gd name="connsiteY5" fmla="*/ 0 h 10266"/>
                <a:gd name="connsiteX6" fmla="*/ 0 w 87494"/>
                <a:gd name="connsiteY6" fmla="*/ 5133 h 1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4" h="10266">
                  <a:moveTo>
                    <a:pt x="0" y="5133"/>
                  </a:moveTo>
                  <a:cubicBezTo>
                    <a:pt x="0" y="6844"/>
                    <a:pt x="3308" y="10267"/>
                    <a:pt x="4905" y="10267"/>
                  </a:cubicBezTo>
                  <a:lnTo>
                    <a:pt x="82589" y="10267"/>
                  </a:lnTo>
                  <a:cubicBezTo>
                    <a:pt x="85897" y="10267"/>
                    <a:pt x="87494" y="6844"/>
                    <a:pt x="87494" y="5133"/>
                  </a:cubicBezTo>
                  <a:cubicBezTo>
                    <a:pt x="87494" y="1711"/>
                    <a:pt x="85897" y="0"/>
                    <a:pt x="82589" y="0"/>
                  </a:cubicBezTo>
                  <a:lnTo>
                    <a:pt x="4905" y="0"/>
                  </a:lnTo>
                  <a:cubicBezTo>
                    <a:pt x="3308" y="0"/>
                    <a:pt x="0" y="1711"/>
                    <a:pt x="0" y="5133"/>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01" name="Freeform: Shape 200">
              <a:extLst>
                <a:ext uri="{FF2B5EF4-FFF2-40B4-BE49-F238E27FC236}">
                  <a16:creationId xmlns:a16="http://schemas.microsoft.com/office/drawing/2014/main" id="{CF353FD9-524E-84C1-7900-AC247E8DED52}"/>
                </a:ext>
              </a:extLst>
            </p:cNvPr>
            <p:cNvSpPr/>
            <p:nvPr/>
          </p:nvSpPr>
          <p:spPr>
            <a:xfrm>
              <a:off x="4898103" y="1592218"/>
              <a:ext cx="87493" cy="10266"/>
            </a:xfrm>
            <a:custGeom>
              <a:avLst/>
              <a:gdLst>
                <a:gd name="connsiteX0" fmla="*/ 82589 w 87493"/>
                <a:gd name="connsiteY0" fmla="*/ 0 h 10266"/>
                <a:gd name="connsiteX1" fmla="*/ 4905 w 87493"/>
                <a:gd name="connsiteY1" fmla="*/ 0 h 10266"/>
                <a:gd name="connsiteX2" fmla="*/ 0 w 87493"/>
                <a:gd name="connsiteY2" fmla="*/ 5133 h 10266"/>
                <a:gd name="connsiteX3" fmla="*/ 4905 w 87493"/>
                <a:gd name="connsiteY3" fmla="*/ 10267 h 10266"/>
                <a:gd name="connsiteX4" fmla="*/ 82589 w 87493"/>
                <a:gd name="connsiteY4" fmla="*/ 10267 h 10266"/>
                <a:gd name="connsiteX5" fmla="*/ 87494 w 87493"/>
                <a:gd name="connsiteY5" fmla="*/ 5133 h 10266"/>
                <a:gd name="connsiteX6" fmla="*/ 82589 w 87493"/>
                <a:gd name="connsiteY6" fmla="*/ 0 h 1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3" h="10266">
                  <a:moveTo>
                    <a:pt x="82589" y="0"/>
                  </a:moveTo>
                  <a:lnTo>
                    <a:pt x="4905" y="0"/>
                  </a:lnTo>
                  <a:cubicBezTo>
                    <a:pt x="3308" y="0"/>
                    <a:pt x="0" y="1711"/>
                    <a:pt x="0" y="5133"/>
                  </a:cubicBezTo>
                  <a:cubicBezTo>
                    <a:pt x="0" y="8555"/>
                    <a:pt x="3308" y="10267"/>
                    <a:pt x="4905" y="10267"/>
                  </a:cubicBezTo>
                  <a:lnTo>
                    <a:pt x="82589" y="10267"/>
                  </a:lnTo>
                  <a:cubicBezTo>
                    <a:pt x="85897" y="10267"/>
                    <a:pt x="87494" y="8555"/>
                    <a:pt x="87494" y="5133"/>
                  </a:cubicBezTo>
                  <a:cubicBezTo>
                    <a:pt x="87494" y="1711"/>
                    <a:pt x="85897" y="0"/>
                    <a:pt x="82589" y="0"/>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02" name="Freeform: Shape 201">
              <a:extLst>
                <a:ext uri="{FF2B5EF4-FFF2-40B4-BE49-F238E27FC236}">
                  <a16:creationId xmlns:a16="http://schemas.microsoft.com/office/drawing/2014/main" id="{D27845F8-EDEC-CDF9-656B-790D03F1595B}"/>
                </a:ext>
              </a:extLst>
            </p:cNvPr>
            <p:cNvSpPr/>
            <p:nvPr/>
          </p:nvSpPr>
          <p:spPr>
            <a:xfrm>
              <a:off x="4898103" y="1645947"/>
              <a:ext cx="87493" cy="9582"/>
            </a:xfrm>
            <a:custGeom>
              <a:avLst/>
              <a:gdLst>
                <a:gd name="connsiteX0" fmla="*/ 82589 w 87493"/>
                <a:gd name="connsiteY0" fmla="*/ 0 h 9582"/>
                <a:gd name="connsiteX1" fmla="*/ 4905 w 87493"/>
                <a:gd name="connsiteY1" fmla="*/ 0 h 9582"/>
                <a:gd name="connsiteX2" fmla="*/ 0 w 87493"/>
                <a:gd name="connsiteY2" fmla="*/ 4791 h 9582"/>
                <a:gd name="connsiteX3" fmla="*/ 4905 w 87493"/>
                <a:gd name="connsiteY3" fmla="*/ 9582 h 9582"/>
                <a:gd name="connsiteX4" fmla="*/ 82589 w 87493"/>
                <a:gd name="connsiteY4" fmla="*/ 9582 h 9582"/>
                <a:gd name="connsiteX5" fmla="*/ 87494 w 87493"/>
                <a:gd name="connsiteY5" fmla="*/ 4791 h 9582"/>
                <a:gd name="connsiteX6" fmla="*/ 82589 w 87493"/>
                <a:gd name="connsiteY6" fmla="*/ 0 h 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3" h="9582">
                  <a:moveTo>
                    <a:pt x="82589" y="0"/>
                  </a:moveTo>
                  <a:lnTo>
                    <a:pt x="4905" y="0"/>
                  </a:lnTo>
                  <a:cubicBezTo>
                    <a:pt x="3308" y="0"/>
                    <a:pt x="0" y="3194"/>
                    <a:pt x="0" y="4791"/>
                  </a:cubicBezTo>
                  <a:cubicBezTo>
                    <a:pt x="0" y="7985"/>
                    <a:pt x="3308" y="9582"/>
                    <a:pt x="4905" y="9582"/>
                  </a:cubicBezTo>
                  <a:lnTo>
                    <a:pt x="82589" y="9582"/>
                  </a:lnTo>
                  <a:cubicBezTo>
                    <a:pt x="85897" y="9582"/>
                    <a:pt x="87494" y="7985"/>
                    <a:pt x="87494" y="4791"/>
                  </a:cubicBezTo>
                  <a:cubicBezTo>
                    <a:pt x="87494" y="3194"/>
                    <a:pt x="85897" y="0"/>
                    <a:pt x="82589" y="0"/>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03" name="Freeform: Shape 202">
              <a:extLst>
                <a:ext uri="{FF2B5EF4-FFF2-40B4-BE49-F238E27FC236}">
                  <a16:creationId xmlns:a16="http://schemas.microsoft.com/office/drawing/2014/main" id="{FBD5A855-C041-F3BE-F5F4-EAD245F1B1DD}"/>
                </a:ext>
              </a:extLst>
            </p:cNvPr>
            <p:cNvSpPr/>
            <p:nvPr/>
          </p:nvSpPr>
          <p:spPr>
            <a:xfrm>
              <a:off x="4807186" y="1430349"/>
              <a:ext cx="228146" cy="277996"/>
            </a:xfrm>
            <a:custGeom>
              <a:avLst/>
              <a:gdLst>
                <a:gd name="connsiteX0" fmla="*/ 163695 w 228146"/>
                <a:gd name="connsiteY0" fmla="*/ 0 h 277996"/>
                <a:gd name="connsiteX1" fmla="*/ 24754 w 228146"/>
                <a:gd name="connsiteY1" fmla="*/ 0 h 277996"/>
                <a:gd name="connsiteX2" fmla="*/ 0 w 228146"/>
                <a:gd name="connsiteY2" fmla="*/ 23157 h 277996"/>
                <a:gd name="connsiteX3" fmla="*/ 0 w 228146"/>
                <a:gd name="connsiteY3" fmla="*/ 254839 h 277996"/>
                <a:gd name="connsiteX4" fmla="*/ 24754 w 228146"/>
                <a:gd name="connsiteY4" fmla="*/ 277996 h 277996"/>
                <a:gd name="connsiteX5" fmla="*/ 203392 w 228146"/>
                <a:gd name="connsiteY5" fmla="*/ 277996 h 277996"/>
                <a:gd name="connsiteX6" fmla="*/ 228146 w 228146"/>
                <a:gd name="connsiteY6" fmla="*/ 254839 h 277996"/>
                <a:gd name="connsiteX7" fmla="*/ 228146 w 228146"/>
                <a:gd name="connsiteY7" fmla="*/ 69470 h 277996"/>
                <a:gd name="connsiteX8" fmla="*/ 163695 w 228146"/>
                <a:gd name="connsiteY8" fmla="*/ 0 h 277996"/>
                <a:gd name="connsiteX9" fmla="*/ 216625 w 228146"/>
                <a:gd name="connsiteY9" fmla="*/ 254839 h 277996"/>
                <a:gd name="connsiteX10" fmla="*/ 203392 w 228146"/>
                <a:gd name="connsiteY10" fmla="*/ 268072 h 277996"/>
                <a:gd name="connsiteX11" fmla="*/ 24754 w 228146"/>
                <a:gd name="connsiteY11" fmla="*/ 268072 h 277996"/>
                <a:gd name="connsiteX12" fmla="*/ 9924 w 228146"/>
                <a:gd name="connsiteY12" fmla="*/ 254839 h 277996"/>
                <a:gd name="connsiteX13" fmla="*/ 9924 w 228146"/>
                <a:gd name="connsiteY13" fmla="*/ 23157 h 277996"/>
                <a:gd name="connsiteX14" fmla="*/ 24754 w 228146"/>
                <a:gd name="connsiteY14" fmla="*/ 9924 h 277996"/>
                <a:gd name="connsiteX15" fmla="*/ 140538 w 228146"/>
                <a:gd name="connsiteY15" fmla="*/ 9924 h 277996"/>
                <a:gd name="connsiteX16" fmla="*/ 140538 w 228146"/>
                <a:gd name="connsiteY16" fmla="*/ 74490 h 277996"/>
                <a:gd name="connsiteX17" fmla="*/ 152059 w 228146"/>
                <a:gd name="connsiteY17" fmla="*/ 86125 h 277996"/>
                <a:gd name="connsiteX18" fmla="*/ 216511 w 228146"/>
                <a:gd name="connsiteY18" fmla="*/ 86125 h 277996"/>
                <a:gd name="connsiteX19" fmla="*/ 216511 w 228146"/>
                <a:gd name="connsiteY19" fmla="*/ 254953 h 277996"/>
                <a:gd name="connsiteX20" fmla="*/ 150462 w 228146"/>
                <a:gd name="connsiteY20" fmla="*/ 76087 h 277996"/>
                <a:gd name="connsiteX21" fmla="*/ 150462 w 228146"/>
                <a:gd name="connsiteY21" fmla="*/ 9924 h 277996"/>
                <a:gd name="connsiteX22" fmla="*/ 158676 w 228146"/>
                <a:gd name="connsiteY22" fmla="*/ 9924 h 277996"/>
                <a:gd name="connsiteX23" fmla="*/ 218222 w 228146"/>
                <a:gd name="connsiteY23" fmla="*/ 76087 h 277996"/>
                <a:gd name="connsiteX24" fmla="*/ 150462 w 228146"/>
                <a:gd name="connsiteY24" fmla="*/ 76087 h 27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146" h="277996">
                  <a:moveTo>
                    <a:pt x="163695" y="0"/>
                  </a:moveTo>
                  <a:lnTo>
                    <a:pt x="24754" y="0"/>
                  </a:lnTo>
                  <a:cubicBezTo>
                    <a:pt x="11521" y="0"/>
                    <a:pt x="0" y="9924"/>
                    <a:pt x="0" y="23157"/>
                  </a:cubicBezTo>
                  <a:lnTo>
                    <a:pt x="0" y="254839"/>
                  </a:lnTo>
                  <a:cubicBezTo>
                    <a:pt x="0" y="268072"/>
                    <a:pt x="11521" y="277996"/>
                    <a:pt x="24754" y="277996"/>
                  </a:cubicBezTo>
                  <a:lnTo>
                    <a:pt x="203392" y="277996"/>
                  </a:lnTo>
                  <a:cubicBezTo>
                    <a:pt x="216625" y="277996"/>
                    <a:pt x="228146" y="268072"/>
                    <a:pt x="228146" y="254839"/>
                  </a:cubicBezTo>
                  <a:lnTo>
                    <a:pt x="228146" y="69470"/>
                  </a:lnTo>
                  <a:lnTo>
                    <a:pt x="163695" y="0"/>
                  </a:lnTo>
                  <a:close/>
                  <a:moveTo>
                    <a:pt x="216625" y="254839"/>
                  </a:moveTo>
                  <a:cubicBezTo>
                    <a:pt x="216625" y="261456"/>
                    <a:pt x="211720" y="268072"/>
                    <a:pt x="203392" y="268072"/>
                  </a:cubicBezTo>
                  <a:lnTo>
                    <a:pt x="24754" y="268072"/>
                  </a:lnTo>
                  <a:cubicBezTo>
                    <a:pt x="16541" y="268072"/>
                    <a:pt x="9924" y="261456"/>
                    <a:pt x="9924" y="254839"/>
                  </a:cubicBezTo>
                  <a:lnTo>
                    <a:pt x="9924" y="23157"/>
                  </a:lnTo>
                  <a:cubicBezTo>
                    <a:pt x="9924" y="16541"/>
                    <a:pt x="16541" y="9924"/>
                    <a:pt x="24754" y="9924"/>
                  </a:cubicBezTo>
                  <a:lnTo>
                    <a:pt x="140538" y="9924"/>
                  </a:lnTo>
                  <a:lnTo>
                    <a:pt x="140538" y="74490"/>
                  </a:lnTo>
                  <a:cubicBezTo>
                    <a:pt x="140538" y="81106"/>
                    <a:pt x="145443" y="86125"/>
                    <a:pt x="152059" y="86125"/>
                  </a:cubicBezTo>
                  <a:lnTo>
                    <a:pt x="216511" y="86125"/>
                  </a:lnTo>
                  <a:lnTo>
                    <a:pt x="216511" y="254953"/>
                  </a:lnTo>
                  <a:close/>
                  <a:moveTo>
                    <a:pt x="150462" y="76087"/>
                  </a:moveTo>
                  <a:lnTo>
                    <a:pt x="150462" y="9924"/>
                  </a:lnTo>
                  <a:lnTo>
                    <a:pt x="158676" y="9924"/>
                  </a:lnTo>
                  <a:lnTo>
                    <a:pt x="218222" y="76087"/>
                  </a:lnTo>
                  <a:lnTo>
                    <a:pt x="150462" y="76087"/>
                  </a:ln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04" name="Freeform: Shape 203">
              <a:extLst>
                <a:ext uri="{FF2B5EF4-FFF2-40B4-BE49-F238E27FC236}">
                  <a16:creationId xmlns:a16="http://schemas.microsoft.com/office/drawing/2014/main" id="{5B91EFED-8794-BAF0-B04E-99CE138CC1F5}"/>
                </a:ext>
              </a:extLst>
            </p:cNvPr>
            <p:cNvSpPr/>
            <p:nvPr/>
          </p:nvSpPr>
          <p:spPr>
            <a:xfrm>
              <a:off x="4842520" y="1525035"/>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1"/>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05" name="Freeform: Shape 204">
              <a:extLst>
                <a:ext uri="{FF2B5EF4-FFF2-40B4-BE49-F238E27FC236}">
                  <a16:creationId xmlns:a16="http://schemas.microsoft.com/office/drawing/2014/main" id="{F905850B-0AFA-CB61-E0D5-06FBE8A68448}"/>
                </a:ext>
              </a:extLst>
            </p:cNvPr>
            <p:cNvSpPr/>
            <p:nvPr/>
          </p:nvSpPr>
          <p:spPr>
            <a:xfrm>
              <a:off x="4842520" y="1577851"/>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2"/>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206" name="Freeform: Shape 205">
              <a:extLst>
                <a:ext uri="{FF2B5EF4-FFF2-40B4-BE49-F238E27FC236}">
                  <a16:creationId xmlns:a16="http://schemas.microsoft.com/office/drawing/2014/main" id="{11448A77-E289-3E6E-343C-6948A5BCD2EB}"/>
                </a:ext>
              </a:extLst>
            </p:cNvPr>
            <p:cNvSpPr/>
            <p:nvPr/>
          </p:nvSpPr>
          <p:spPr>
            <a:xfrm>
              <a:off x="4842520" y="1631009"/>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1"/>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grpSp>
      <p:sp>
        <p:nvSpPr>
          <p:cNvPr id="196" name="Freeform: Shape 195">
            <a:extLst>
              <a:ext uri="{FF2B5EF4-FFF2-40B4-BE49-F238E27FC236}">
                <a16:creationId xmlns:a16="http://schemas.microsoft.com/office/drawing/2014/main" id="{ABE62898-08CF-FF8C-E5FB-21769D84E99A}"/>
              </a:ext>
              <a:ext uri="{C183D7F6-B498-43B3-948B-1728B52AA6E4}">
                <adec:decorative xmlns:adec="http://schemas.microsoft.com/office/drawing/2017/decorative" val="1"/>
              </a:ext>
            </a:extLst>
          </p:cNvPr>
          <p:cNvSpPr/>
          <p:nvPr/>
        </p:nvSpPr>
        <p:spPr>
          <a:xfrm rot="8100000">
            <a:off x="3199476" y="2330350"/>
            <a:ext cx="93570" cy="88099"/>
          </a:xfrm>
          <a:custGeom>
            <a:avLst/>
            <a:gdLst>
              <a:gd name="connsiteX0" fmla="*/ 118533 w 118533"/>
              <a:gd name="connsiteY0" fmla="*/ 0 h 93133"/>
              <a:gd name="connsiteX1" fmla="*/ 0 w 118533"/>
              <a:gd name="connsiteY1" fmla="*/ 0 h 93133"/>
              <a:gd name="connsiteX2" fmla="*/ 0 w 118533"/>
              <a:gd name="connsiteY2" fmla="*/ 93133 h 93133"/>
            </a:gdLst>
            <a:ahLst/>
            <a:cxnLst>
              <a:cxn ang="0">
                <a:pos x="connsiteX0" y="connsiteY0"/>
              </a:cxn>
              <a:cxn ang="0">
                <a:pos x="connsiteX1" y="connsiteY1"/>
              </a:cxn>
              <a:cxn ang="0">
                <a:pos x="connsiteX2" y="connsiteY2"/>
              </a:cxn>
            </a:cxnLst>
            <a:rect l="l" t="t" r="r" b="b"/>
            <a:pathLst>
              <a:path w="118533" h="93133">
                <a:moveTo>
                  <a:pt x="118533" y="0"/>
                </a:moveTo>
                <a:lnTo>
                  <a:pt x="0" y="0"/>
                </a:lnTo>
                <a:lnTo>
                  <a:pt x="0" y="93133"/>
                </a:lnTo>
              </a:path>
            </a:pathLst>
          </a:custGeom>
          <a:noFill/>
          <a:ln cap="rnd">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sp>
        <p:nvSpPr>
          <p:cNvPr id="197" name="Oval 196">
            <a:extLst>
              <a:ext uri="{FF2B5EF4-FFF2-40B4-BE49-F238E27FC236}">
                <a16:creationId xmlns:a16="http://schemas.microsoft.com/office/drawing/2014/main" id="{E3F60773-501E-B907-8821-5561C234C60C}"/>
              </a:ext>
              <a:ext uri="{C183D7F6-B498-43B3-948B-1728B52AA6E4}">
                <adec:decorative xmlns:adec="http://schemas.microsoft.com/office/drawing/2017/decorative" val="1"/>
              </a:ext>
            </a:extLst>
          </p:cNvPr>
          <p:cNvSpPr/>
          <p:nvPr/>
        </p:nvSpPr>
        <p:spPr>
          <a:xfrm>
            <a:off x="5504642"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3</a:t>
            </a:r>
          </a:p>
        </p:txBody>
      </p:sp>
      <p:sp>
        <p:nvSpPr>
          <p:cNvPr id="198" name="Oval 197">
            <a:extLst>
              <a:ext uri="{FF2B5EF4-FFF2-40B4-BE49-F238E27FC236}">
                <a16:creationId xmlns:a16="http://schemas.microsoft.com/office/drawing/2014/main" id="{1B131073-D38F-7958-8764-1B20E16BAD78}"/>
              </a:ext>
              <a:ext uri="{C183D7F6-B498-43B3-948B-1728B52AA6E4}">
                <adec:decorative xmlns:adec="http://schemas.microsoft.com/office/drawing/2017/decorative" val="1"/>
              </a:ext>
            </a:extLst>
          </p:cNvPr>
          <p:cNvSpPr/>
          <p:nvPr/>
        </p:nvSpPr>
        <p:spPr>
          <a:xfrm>
            <a:off x="6738132"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4</a:t>
            </a:r>
          </a:p>
        </p:txBody>
      </p:sp>
      <p:sp>
        <p:nvSpPr>
          <p:cNvPr id="199" name="Oval 198">
            <a:extLst>
              <a:ext uri="{FF2B5EF4-FFF2-40B4-BE49-F238E27FC236}">
                <a16:creationId xmlns:a16="http://schemas.microsoft.com/office/drawing/2014/main" id="{DBCE3CB9-E2ED-4632-5CCF-CA67D2B18499}"/>
              </a:ext>
              <a:ext uri="{C183D7F6-B498-43B3-948B-1728B52AA6E4}">
                <adec:decorative xmlns:adec="http://schemas.microsoft.com/office/drawing/2017/decorative" val="1"/>
              </a:ext>
            </a:extLst>
          </p:cNvPr>
          <p:cNvSpPr/>
          <p:nvPr/>
        </p:nvSpPr>
        <p:spPr>
          <a:xfrm>
            <a:off x="7978607"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5</a:t>
            </a:r>
          </a:p>
        </p:txBody>
      </p:sp>
      <p:sp>
        <p:nvSpPr>
          <p:cNvPr id="270" name="Freeform 103">
            <a:extLst>
              <a:ext uri="{FF2B5EF4-FFF2-40B4-BE49-F238E27FC236}">
                <a16:creationId xmlns:a16="http://schemas.microsoft.com/office/drawing/2014/main" id="{D7E224C8-9899-7089-7235-0B20EF7922FE}"/>
              </a:ext>
              <a:ext uri="{C183D7F6-B498-43B3-948B-1728B52AA6E4}">
                <adec:decorative xmlns:adec="http://schemas.microsoft.com/office/drawing/2017/decorative" val="1"/>
              </a:ext>
            </a:extLst>
          </p:cNvPr>
          <p:cNvSpPr>
            <a:spLocks noChangeAspect="1" noEditPoints="1"/>
          </p:cNvSpPr>
          <p:nvPr/>
        </p:nvSpPr>
        <p:spPr bwMode="auto">
          <a:xfrm>
            <a:off x="8168425" y="2641523"/>
            <a:ext cx="226066" cy="226066"/>
          </a:xfrm>
          <a:custGeom>
            <a:avLst/>
            <a:gdLst>
              <a:gd name="T0" fmla="*/ 168 w 169"/>
              <a:gd name="T1" fmla="*/ 164 h 169"/>
              <a:gd name="T2" fmla="*/ 127 w 169"/>
              <a:gd name="T3" fmla="*/ 122 h 169"/>
              <a:gd name="T4" fmla="*/ 127 w 169"/>
              <a:gd name="T5" fmla="*/ 122 h 169"/>
              <a:gd name="T6" fmla="*/ 146 w 169"/>
              <a:gd name="T7" fmla="*/ 73 h 169"/>
              <a:gd name="T8" fmla="*/ 73 w 169"/>
              <a:gd name="T9" fmla="*/ 0 h 169"/>
              <a:gd name="T10" fmla="*/ 0 w 169"/>
              <a:gd name="T11" fmla="*/ 73 h 169"/>
              <a:gd name="T12" fmla="*/ 73 w 169"/>
              <a:gd name="T13" fmla="*/ 146 h 169"/>
              <a:gd name="T14" fmla="*/ 122 w 169"/>
              <a:gd name="T15" fmla="*/ 128 h 169"/>
              <a:gd name="T16" fmla="*/ 122 w 169"/>
              <a:gd name="T17" fmla="*/ 127 h 169"/>
              <a:gd name="T18" fmla="*/ 122 w 169"/>
              <a:gd name="T19" fmla="*/ 128 h 169"/>
              <a:gd name="T20" fmla="*/ 163 w 169"/>
              <a:gd name="T21" fmla="*/ 168 h 169"/>
              <a:gd name="T22" fmla="*/ 166 w 169"/>
              <a:gd name="T23" fmla="*/ 169 h 169"/>
              <a:gd name="T24" fmla="*/ 169 w 169"/>
              <a:gd name="T25" fmla="*/ 166 h 169"/>
              <a:gd name="T26" fmla="*/ 168 w 169"/>
              <a:gd name="T27" fmla="*/ 164 h 169"/>
              <a:gd name="T28" fmla="*/ 73 w 169"/>
              <a:gd name="T29" fmla="*/ 140 h 169"/>
              <a:gd name="T30" fmla="*/ 7 w 169"/>
              <a:gd name="T31" fmla="*/ 73 h 169"/>
              <a:gd name="T32" fmla="*/ 73 w 169"/>
              <a:gd name="T33" fmla="*/ 7 h 169"/>
              <a:gd name="T34" fmla="*/ 139 w 169"/>
              <a:gd name="T35" fmla="*/ 73 h 169"/>
              <a:gd name="T36" fmla="*/ 73 w 169"/>
              <a:gd name="T37" fmla="*/ 14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8" y="164"/>
                </a:moveTo>
                <a:cubicBezTo>
                  <a:pt x="127" y="122"/>
                  <a:pt x="127" y="122"/>
                  <a:pt x="127" y="122"/>
                </a:cubicBezTo>
                <a:cubicBezTo>
                  <a:pt x="127" y="122"/>
                  <a:pt x="127" y="122"/>
                  <a:pt x="127" y="122"/>
                </a:cubicBezTo>
                <a:cubicBezTo>
                  <a:pt x="139" y="109"/>
                  <a:pt x="146" y="91"/>
                  <a:pt x="146" y="73"/>
                </a:cubicBezTo>
                <a:cubicBezTo>
                  <a:pt x="146" y="33"/>
                  <a:pt x="113" y="0"/>
                  <a:pt x="73" y="0"/>
                </a:cubicBezTo>
                <a:cubicBezTo>
                  <a:pt x="33" y="0"/>
                  <a:pt x="0" y="33"/>
                  <a:pt x="0" y="73"/>
                </a:cubicBezTo>
                <a:cubicBezTo>
                  <a:pt x="0" y="114"/>
                  <a:pt x="33" y="146"/>
                  <a:pt x="73" y="146"/>
                </a:cubicBezTo>
                <a:cubicBezTo>
                  <a:pt x="91" y="146"/>
                  <a:pt x="108" y="140"/>
                  <a:pt x="122" y="128"/>
                </a:cubicBezTo>
                <a:cubicBezTo>
                  <a:pt x="122" y="127"/>
                  <a:pt x="122" y="127"/>
                  <a:pt x="122" y="127"/>
                </a:cubicBezTo>
                <a:cubicBezTo>
                  <a:pt x="122" y="128"/>
                  <a:pt x="122" y="128"/>
                  <a:pt x="122" y="128"/>
                </a:cubicBezTo>
                <a:cubicBezTo>
                  <a:pt x="163" y="168"/>
                  <a:pt x="163" y="168"/>
                  <a:pt x="163" y="168"/>
                </a:cubicBezTo>
                <a:cubicBezTo>
                  <a:pt x="164" y="169"/>
                  <a:pt x="165" y="169"/>
                  <a:pt x="166" y="169"/>
                </a:cubicBezTo>
                <a:cubicBezTo>
                  <a:pt x="168" y="169"/>
                  <a:pt x="169" y="168"/>
                  <a:pt x="169" y="166"/>
                </a:cubicBezTo>
                <a:cubicBezTo>
                  <a:pt x="169" y="165"/>
                  <a:pt x="169" y="164"/>
                  <a:pt x="168" y="164"/>
                </a:cubicBezTo>
                <a:close/>
                <a:moveTo>
                  <a:pt x="73" y="140"/>
                </a:moveTo>
                <a:cubicBezTo>
                  <a:pt x="37" y="140"/>
                  <a:pt x="7" y="110"/>
                  <a:pt x="7" y="73"/>
                </a:cubicBezTo>
                <a:cubicBezTo>
                  <a:pt x="7" y="37"/>
                  <a:pt x="37" y="7"/>
                  <a:pt x="73" y="7"/>
                </a:cubicBezTo>
                <a:cubicBezTo>
                  <a:pt x="110" y="7"/>
                  <a:pt x="139" y="37"/>
                  <a:pt x="139" y="73"/>
                </a:cubicBezTo>
                <a:cubicBezTo>
                  <a:pt x="139" y="110"/>
                  <a:pt x="110" y="140"/>
                  <a:pt x="73" y="14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279" name="Freeform: Shape 278">
            <a:extLst>
              <a:ext uri="{FF2B5EF4-FFF2-40B4-BE49-F238E27FC236}">
                <a16:creationId xmlns:a16="http://schemas.microsoft.com/office/drawing/2014/main" id="{F0A7B893-F5D3-CFAD-C861-12289D96FFCD}"/>
              </a:ext>
              <a:ext uri="{C183D7F6-B498-43B3-948B-1728B52AA6E4}">
                <adec:decorative xmlns:adec="http://schemas.microsoft.com/office/drawing/2017/decorative" val="1"/>
              </a:ext>
            </a:extLst>
          </p:cNvPr>
          <p:cNvSpPr/>
          <p:nvPr/>
        </p:nvSpPr>
        <p:spPr>
          <a:xfrm>
            <a:off x="164617" y="3607065"/>
            <a:ext cx="2167534" cy="3625582"/>
          </a:xfrm>
          <a:custGeom>
            <a:avLst/>
            <a:gdLst>
              <a:gd name="connsiteX0" fmla="*/ 0 w 4504109"/>
              <a:gd name="connsiteY0" fmla="*/ 0 h 10165701"/>
              <a:gd name="connsiteX1" fmla="*/ 4504110 w 4504109"/>
              <a:gd name="connsiteY1" fmla="*/ 0 h 10165701"/>
              <a:gd name="connsiteX2" fmla="*/ 4504110 w 4504109"/>
              <a:gd name="connsiteY2" fmla="*/ 10165701 h 10165701"/>
              <a:gd name="connsiteX3" fmla="*/ 0 w 4504109"/>
              <a:gd name="connsiteY3" fmla="*/ 10165701 h 10165701"/>
            </a:gdLst>
            <a:ahLst/>
            <a:cxnLst>
              <a:cxn ang="0">
                <a:pos x="connsiteX0" y="connsiteY0"/>
              </a:cxn>
              <a:cxn ang="0">
                <a:pos x="connsiteX1" y="connsiteY1"/>
              </a:cxn>
              <a:cxn ang="0">
                <a:pos x="connsiteX2" y="connsiteY2"/>
              </a:cxn>
              <a:cxn ang="0">
                <a:pos x="connsiteX3" y="connsiteY3"/>
              </a:cxn>
            </a:cxnLst>
            <a:rect l="l" t="t" r="r" b="b"/>
            <a:pathLst>
              <a:path w="4504109" h="10165701">
                <a:moveTo>
                  <a:pt x="0" y="0"/>
                </a:moveTo>
                <a:lnTo>
                  <a:pt x="4504110" y="0"/>
                </a:lnTo>
                <a:lnTo>
                  <a:pt x="4504110" y="10165701"/>
                </a:lnTo>
                <a:lnTo>
                  <a:pt x="0" y="10165701"/>
                </a:lnTo>
                <a:close/>
              </a:path>
            </a:pathLst>
          </a:custGeom>
          <a:noFill/>
          <a:ln w="18179" cap="flat">
            <a:solidFill>
              <a:srgbClr val="29BEC6"/>
            </a:solidFill>
            <a:prstDash val="solid"/>
            <a:miter/>
          </a:ln>
        </p:spPr>
        <p:txBody>
          <a:bodyPr rtlCol="0" anchor="ctr"/>
          <a:lstStyle/>
          <a:p>
            <a:endParaRPr lang="en-AU" sz="1000"/>
          </a:p>
        </p:txBody>
      </p:sp>
      <p:grpSp>
        <p:nvGrpSpPr>
          <p:cNvPr id="281" name="Graphic 2">
            <a:extLst>
              <a:ext uri="{FF2B5EF4-FFF2-40B4-BE49-F238E27FC236}">
                <a16:creationId xmlns:a16="http://schemas.microsoft.com/office/drawing/2014/main" id="{41CB0157-C434-7E20-752B-DEE48477A1AD}"/>
              </a:ext>
              <a:ext uri="{C183D7F6-B498-43B3-948B-1728B52AA6E4}">
                <adec:decorative xmlns:adec="http://schemas.microsoft.com/office/drawing/2017/decorative" val="1"/>
              </a:ext>
            </a:extLst>
          </p:cNvPr>
          <p:cNvGrpSpPr/>
          <p:nvPr/>
        </p:nvGrpSpPr>
        <p:grpSpPr>
          <a:xfrm>
            <a:off x="263505" y="4585957"/>
            <a:ext cx="221127" cy="213217"/>
            <a:chOff x="736421" y="15190987"/>
            <a:chExt cx="386554" cy="386555"/>
          </a:xfrm>
          <a:solidFill>
            <a:srgbClr val="017D7D"/>
          </a:solidFill>
        </p:grpSpPr>
        <p:sp>
          <p:nvSpPr>
            <p:cNvPr id="282" name="Freeform: Shape 281">
              <a:extLst>
                <a:ext uri="{FF2B5EF4-FFF2-40B4-BE49-F238E27FC236}">
                  <a16:creationId xmlns:a16="http://schemas.microsoft.com/office/drawing/2014/main" id="{57602B46-5463-9A2E-3DDC-A36E91AB4EC7}"/>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283" name="Freeform: Shape 282">
              <a:extLst>
                <a:ext uri="{FF2B5EF4-FFF2-40B4-BE49-F238E27FC236}">
                  <a16:creationId xmlns:a16="http://schemas.microsoft.com/office/drawing/2014/main" id="{E166B14A-7436-5337-60AA-92E0BD3AFA77}"/>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grpSp>
        <p:nvGrpSpPr>
          <p:cNvPr id="286" name="Graphic 2">
            <a:extLst>
              <a:ext uri="{FF2B5EF4-FFF2-40B4-BE49-F238E27FC236}">
                <a16:creationId xmlns:a16="http://schemas.microsoft.com/office/drawing/2014/main" id="{3C14F6EC-11E4-6DEB-5A91-B276BA403B35}"/>
              </a:ext>
              <a:ext uri="{C183D7F6-B498-43B3-948B-1728B52AA6E4}">
                <adec:decorative xmlns:adec="http://schemas.microsoft.com/office/drawing/2017/decorative" val="1"/>
              </a:ext>
            </a:extLst>
          </p:cNvPr>
          <p:cNvGrpSpPr/>
          <p:nvPr/>
        </p:nvGrpSpPr>
        <p:grpSpPr>
          <a:xfrm>
            <a:off x="261216" y="4007204"/>
            <a:ext cx="221127" cy="213217"/>
            <a:chOff x="736421" y="15190987"/>
            <a:chExt cx="386554" cy="386555"/>
          </a:xfrm>
          <a:solidFill>
            <a:srgbClr val="017D7D"/>
          </a:solidFill>
        </p:grpSpPr>
        <p:sp>
          <p:nvSpPr>
            <p:cNvPr id="287" name="Freeform: Shape 286">
              <a:extLst>
                <a:ext uri="{FF2B5EF4-FFF2-40B4-BE49-F238E27FC236}">
                  <a16:creationId xmlns:a16="http://schemas.microsoft.com/office/drawing/2014/main" id="{471B2B58-617C-1813-74A4-255D12B44896}"/>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288" name="Freeform: Shape 287">
              <a:extLst>
                <a:ext uri="{FF2B5EF4-FFF2-40B4-BE49-F238E27FC236}">
                  <a16:creationId xmlns:a16="http://schemas.microsoft.com/office/drawing/2014/main" id="{4BD8310F-20C6-566B-DCB8-386BA87E717B}"/>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grpSp>
        <p:nvGrpSpPr>
          <p:cNvPr id="289" name="Graphic 2">
            <a:extLst>
              <a:ext uri="{FF2B5EF4-FFF2-40B4-BE49-F238E27FC236}">
                <a16:creationId xmlns:a16="http://schemas.microsoft.com/office/drawing/2014/main" id="{03503828-9335-4E45-ED8A-4293693755C2}"/>
              </a:ext>
              <a:ext uri="{C183D7F6-B498-43B3-948B-1728B52AA6E4}">
                <adec:decorative xmlns:adec="http://schemas.microsoft.com/office/drawing/2017/decorative" val="1"/>
              </a:ext>
            </a:extLst>
          </p:cNvPr>
          <p:cNvGrpSpPr/>
          <p:nvPr/>
        </p:nvGrpSpPr>
        <p:grpSpPr>
          <a:xfrm>
            <a:off x="266754" y="5808554"/>
            <a:ext cx="221127" cy="213217"/>
            <a:chOff x="736421" y="15190987"/>
            <a:chExt cx="386554" cy="386555"/>
          </a:xfrm>
          <a:solidFill>
            <a:srgbClr val="017D7D"/>
          </a:solidFill>
        </p:grpSpPr>
        <p:sp>
          <p:nvSpPr>
            <p:cNvPr id="290" name="Freeform: Shape 289">
              <a:extLst>
                <a:ext uri="{FF2B5EF4-FFF2-40B4-BE49-F238E27FC236}">
                  <a16:creationId xmlns:a16="http://schemas.microsoft.com/office/drawing/2014/main" id="{45C4646F-DC1E-8599-801A-C01C2458F1A1}"/>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291" name="Freeform: Shape 290">
              <a:extLst>
                <a:ext uri="{FF2B5EF4-FFF2-40B4-BE49-F238E27FC236}">
                  <a16:creationId xmlns:a16="http://schemas.microsoft.com/office/drawing/2014/main" id="{03CB9166-72CD-4B7F-EFA1-146AA17148DF}"/>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grpSp>
        <p:nvGrpSpPr>
          <p:cNvPr id="292" name="Graphic 2">
            <a:extLst>
              <a:ext uri="{FF2B5EF4-FFF2-40B4-BE49-F238E27FC236}">
                <a16:creationId xmlns:a16="http://schemas.microsoft.com/office/drawing/2014/main" id="{BB47B525-3983-131B-EC96-9258ED992A51}"/>
              </a:ext>
              <a:ext uri="{C183D7F6-B498-43B3-948B-1728B52AA6E4}">
                <adec:decorative xmlns:adec="http://schemas.microsoft.com/office/drawing/2017/decorative" val="1"/>
              </a:ext>
            </a:extLst>
          </p:cNvPr>
          <p:cNvGrpSpPr/>
          <p:nvPr/>
        </p:nvGrpSpPr>
        <p:grpSpPr>
          <a:xfrm>
            <a:off x="266754" y="6417551"/>
            <a:ext cx="221127" cy="213217"/>
            <a:chOff x="736421" y="15190987"/>
            <a:chExt cx="386554" cy="386555"/>
          </a:xfrm>
          <a:solidFill>
            <a:srgbClr val="017D7D"/>
          </a:solidFill>
        </p:grpSpPr>
        <p:sp>
          <p:nvSpPr>
            <p:cNvPr id="293" name="Freeform: Shape 292">
              <a:extLst>
                <a:ext uri="{FF2B5EF4-FFF2-40B4-BE49-F238E27FC236}">
                  <a16:creationId xmlns:a16="http://schemas.microsoft.com/office/drawing/2014/main" id="{CC54A916-43D7-76D6-745C-6CCB96C8CB3F}"/>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294" name="Freeform: Shape 293">
              <a:extLst>
                <a:ext uri="{FF2B5EF4-FFF2-40B4-BE49-F238E27FC236}">
                  <a16:creationId xmlns:a16="http://schemas.microsoft.com/office/drawing/2014/main" id="{F3432517-AB5C-E58B-B6CF-37FF30B3669D}"/>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spTree>
    <p:extLst>
      <p:ext uri="{BB962C8B-B14F-4D97-AF65-F5344CB8AC3E}">
        <p14:creationId xmlns:p14="http://schemas.microsoft.com/office/powerpoint/2010/main" val="1793640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6997C0-ABCC-BBF3-12AD-0C7AC342FC6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859439557"/>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12" name="Object 11" hidden="1">
                        <a:extLst>
                          <a:ext uri="{FF2B5EF4-FFF2-40B4-BE49-F238E27FC236}">
                            <a16:creationId xmlns:a16="http://schemas.microsoft.com/office/drawing/2014/main" id="{996997C0-ABCC-BBF3-12AD-0C7AC342FC67}"/>
                          </a:ext>
                          <a:ext uri="{C183D7F6-B498-43B3-948B-1728B52AA6E4}">
                            <adec:decorative xmlns:adec="http://schemas.microsoft.com/office/drawing/2017/decorative" val="1"/>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C23A05B-338A-E882-D37C-C09A4BEA8CED}"/>
              </a:ext>
            </a:extLst>
          </p:cNvPr>
          <p:cNvSpPr>
            <a:spLocks noGrp="1"/>
          </p:cNvSpPr>
          <p:nvPr>
            <p:ph type="title"/>
          </p:nvPr>
        </p:nvSpPr>
        <p:spPr/>
        <p:txBody>
          <a:bodyPr vert="horz"/>
          <a:lstStyle/>
          <a:p>
            <a:r>
              <a:rPr lang="en-AU" dirty="0"/>
              <a:t>Secondary Consent Assessment Service Flow</a:t>
            </a:r>
          </a:p>
        </p:txBody>
      </p:sp>
      <p:sp>
        <p:nvSpPr>
          <p:cNvPr id="162" name="TextBox 161">
            <a:extLst>
              <a:ext uri="{FF2B5EF4-FFF2-40B4-BE49-F238E27FC236}">
                <a16:creationId xmlns:a16="http://schemas.microsoft.com/office/drawing/2014/main" id="{DF3F446E-0D33-9480-1AEE-7525C47D56ED}"/>
              </a:ext>
            </a:extLst>
          </p:cNvPr>
          <p:cNvSpPr txBox="1"/>
          <p:nvPr/>
        </p:nvSpPr>
        <p:spPr>
          <a:xfrm>
            <a:off x="100135" y="1748497"/>
            <a:ext cx="2166716" cy="1862048"/>
          </a:xfrm>
          <a:prstGeom prst="rect">
            <a:avLst/>
          </a:prstGeom>
          <a:noFill/>
        </p:spPr>
        <p:txBody>
          <a:bodyPr wrap="square" lIns="91440" tIns="45720" rIns="91440" bIns="45720" rtlCol="0" anchor="t">
            <a:spAutoFit/>
          </a:bodyPr>
          <a:lstStyle/>
          <a:p>
            <a:pPr>
              <a:spcBef>
                <a:spcPts val="600"/>
              </a:spcBef>
            </a:pPr>
            <a:r>
              <a:rPr lang="en-AU" sz="1000" dirty="0">
                <a:solidFill>
                  <a:schemeClr val="accent6"/>
                </a:solidFill>
              </a:rPr>
              <a:t>This </a:t>
            </a:r>
            <a:r>
              <a:rPr lang="en-AU" sz="1000" b="1" dirty="0">
                <a:solidFill>
                  <a:schemeClr val="accent6"/>
                </a:solidFill>
              </a:rPr>
              <a:t>Secondary Consent Assessment Flow </a:t>
            </a:r>
            <a:r>
              <a:rPr lang="en-AU" sz="1000" dirty="0">
                <a:solidFill>
                  <a:schemeClr val="accent6"/>
                </a:solidFill>
              </a:rPr>
              <a:t>has been designed as a visual representation of the front and back of house actions undertaken by applicants and planners as part of the secondary consent approval process.</a:t>
            </a:r>
          </a:p>
          <a:p>
            <a:pPr>
              <a:spcBef>
                <a:spcPts val="600"/>
              </a:spcBef>
            </a:pPr>
            <a:r>
              <a:rPr lang="en-AU" sz="1000" dirty="0">
                <a:solidFill>
                  <a:schemeClr val="accent6"/>
                </a:solidFill>
              </a:rPr>
              <a:t>Primary target users of this service flow are the planning and business support teams at Council. </a:t>
            </a:r>
          </a:p>
        </p:txBody>
      </p:sp>
      <p:sp>
        <p:nvSpPr>
          <p:cNvPr id="3" name="Freeform: Shape 2">
            <a:extLst>
              <a:ext uri="{FF2B5EF4-FFF2-40B4-BE49-F238E27FC236}">
                <a16:creationId xmlns:a16="http://schemas.microsoft.com/office/drawing/2014/main" id="{9FE20CB0-DDF5-E472-3FDC-959B6E0D38C9}"/>
              </a:ext>
              <a:ext uri="{C183D7F6-B498-43B3-948B-1728B52AA6E4}">
                <adec:decorative xmlns:adec="http://schemas.microsoft.com/office/drawing/2017/decorative" val="1"/>
              </a:ext>
            </a:extLst>
          </p:cNvPr>
          <p:cNvSpPr/>
          <p:nvPr/>
        </p:nvSpPr>
        <p:spPr>
          <a:xfrm>
            <a:off x="164617" y="3658850"/>
            <a:ext cx="2167534" cy="3870060"/>
          </a:xfrm>
          <a:custGeom>
            <a:avLst/>
            <a:gdLst>
              <a:gd name="connsiteX0" fmla="*/ 0 w 4504109"/>
              <a:gd name="connsiteY0" fmla="*/ 0 h 10165701"/>
              <a:gd name="connsiteX1" fmla="*/ 4504110 w 4504109"/>
              <a:gd name="connsiteY1" fmla="*/ 0 h 10165701"/>
              <a:gd name="connsiteX2" fmla="*/ 4504110 w 4504109"/>
              <a:gd name="connsiteY2" fmla="*/ 10165701 h 10165701"/>
              <a:gd name="connsiteX3" fmla="*/ 0 w 4504109"/>
              <a:gd name="connsiteY3" fmla="*/ 10165701 h 10165701"/>
            </a:gdLst>
            <a:ahLst/>
            <a:cxnLst>
              <a:cxn ang="0">
                <a:pos x="connsiteX0" y="connsiteY0"/>
              </a:cxn>
              <a:cxn ang="0">
                <a:pos x="connsiteX1" y="connsiteY1"/>
              </a:cxn>
              <a:cxn ang="0">
                <a:pos x="connsiteX2" y="connsiteY2"/>
              </a:cxn>
              <a:cxn ang="0">
                <a:pos x="connsiteX3" y="connsiteY3"/>
              </a:cxn>
            </a:cxnLst>
            <a:rect l="l" t="t" r="r" b="b"/>
            <a:pathLst>
              <a:path w="4504109" h="10165701">
                <a:moveTo>
                  <a:pt x="0" y="0"/>
                </a:moveTo>
                <a:lnTo>
                  <a:pt x="4504110" y="0"/>
                </a:lnTo>
                <a:lnTo>
                  <a:pt x="4504110" y="10165701"/>
                </a:lnTo>
                <a:lnTo>
                  <a:pt x="0" y="10165701"/>
                </a:lnTo>
                <a:close/>
              </a:path>
            </a:pathLst>
          </a:custGeom>
          <a:noFill/>
          <a:ln w="18179" cap="flat">
            <a:solidFill>
              <a:srgbClr val="29BEC6"/>
            </a:solidFill>
            <a:prstDash val="solid"/>
            <a:miter/>
          </a:ln>
        </p:spPr>
        <p:txBody>
          <a:bodyPr rtlCol="0" anchor="ctr"/>
          <a:lstStyle/>
          <a:p>
            <a:endParaRPr lang="en-AU" sz="1000"/>
          </a:p>
        </p:txBody>
      </p:sp>
      <p:sp>
        <p:nvSpPr>
          <p:cNvPr id="4" name="TextBox 3">
            <a:extLst>
              <a:ext uri="{FF2B5EF4-FFF2-40B4-BE49-F238E27FC236}">
                <a16:creationId xmlns:a16="http://schemas.microsoft.com/office/drawing/2014/main" id="{E4892AB0-E1B1-271C-5C91-B27230761FD2}"/>
              </a:ext>
            </a:extLst>
          </p:cNvPr>
          <p:cNvSpPr txBox="1"/>
          <p:nvPr/>
        </p:nvSpPr>
        <p:spPr>
          <a:xfrm>
            <a:off x="751318" y="3708511"/>
            <a:ext cx="857927" cy="261610"/>
          </a:xfrm>
          <a:prstGeom prst="rect">
            <a:avLst/>
          </a:prstGeom>
          <a:solidFill>
            <a:schemeClr val="bg1"/>
          </a:solidFill>
        </p:spPr>
        <p:txBody>
          <a:bodyPr wrap="none" rtlCol="0">
            <a:spAutoFit/>
          </a:bodyPr>
          <a:lstStyle/>
          <a:p>
            <a:pPr algn="l"/>
            <a:r>
              <a:rPr lang="en-AU" sz="1100" b="1" spc="0" baseline="0" dirty="0">
                <a:solidFill>
                  <a:srgbClr val="017D7D"/>
                </a:solidFill>
                <a:sym typeface="Overpass-SemiBold"/>
                <a:rtl val="0"/>
              </a:rPr>
              <a:t>Principles</a:t>
            </a:r>
          </a:p>
        </p:txBody>
      </p:sp>
      <p:sp>
        <p:nvSpPr>
          <p:cNvPr id="19" name="TextBox 124">
            <a:extLst>
              <a:ext uri="{FF2B5EF4-FFF2-40B4-BE49-F238E27FC236}">
                <a16:creationId xmlns:a16="http://schemas.microsoft.com/office/drawing/2014/main" id="{06AEE7AA-18BB-4F96-CA50-EC2D94FF8BBE}"/>
              </a:ext>
            </a:extLst>
          </p:cNvPr>
          <p:cNvSpPr txBox="1"/>
          <p:nvPr/>
        </p:nvSpPr>
        <p:spPr>
          <a:xfrm>
            <a:off x="409082" y="3978292"/>
            <a:ext cx="1858378" cy="400110"/>
          </a:xfrm>
          <a:prstGeom prst="rect">
            <a:avLst/>
          </a:prstGeom>
          <a:noFill/>
        </p:spPr>
        <p:txBody>
          <a:bodyPr wrap="square" rtlCol="0">
            <a:spAutoFit/>
          </a:bodyPr>
          <a:lstStyle/>
          <a:p>
            <a:pPr marL="61198">
              <a:spcBef>
                <a:spcPts val="600"/>
              </a:spcBef>
              <a:spcAft>
                <a:spcPts val="1200"/>
              </a:spcAft>
              <a:buClr>
                <a:srgbClr val="0070C0"/>
              </a:buClr>
            </a:pPr>
            <a:r>
              <a:rPr lang="en-AU" sz="1000">
                <a:solidFill>
                  <a:srgbClr val="017D7D"/>
                </a:solidFill>
                <a:cs typeface="Segoe UI Semilight" panose="020B0402040204020203" pitchFamily="34" charset="0"/>
              </a:rPr>
              <a:t>We will encourage complete applications at lodgement</a:t>
            </a:r>
          </a:p>
        </p:txBody>
      </p:sp>
      <p:sp>
        <p:nvSpPr>
          <p:cNvPr id="20" name="TextBox 124">
            <a:extLst>
              <a:ext uri="{FF2B5EF4-FFF2-40B4-BE49-F238E27FC236}">
                <a16:creationId xmlns:a16="http://schemas.microsoft.com/office/drawing/2014/main" id="{15C085FE-1BEE-88DB-4744-754A0530A9C4}"/>
              </a:ext>
            </a:extLst>
          </p:cNvPr>
          <p:cNvSpPr txBox="1"/>
          <p:nvPr/>
        </p:nvSpPr>
        <p:spPr>
          <a:xfrm>
            <a:off x="409082" y="4408861"/>
            <a:ext cx="2038700"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commit to requesting further information (if required) as quickly as possible</a:t>
            </a:r>
          </a:p>
        </p:txBody>
      </p:sp>
      <p:sp>
        <p:nvSpPr>
          <p:cNvPr id="24" name="TextBox 124">
            <a:extLst>
              <a:ext uri="{FF2B5EF4-FFF2-40B4-BE49-F238E27FC236}">
                <a16:creationId xmlns:a16="http://schemas.microsoft.com/office/drawing/2014/main" id="{47E78914-A0ED-4553-B5A1-891457D69ADB}"/>
              </a:ext>
            </a:extLst>
          </p:cNvPr>
          <p:cNvSpPr txBox="1"/>
          <p:nvPr/>
        </p:nvSpPr>
        <p:spPr>
          <a:xfrm>
            <a:off x="409082" y="5020322"/>
            <a:ext cx="1858378" cy="707886"/>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only consider the changes applied for in the secondary consent application</a:t>
            </a:r>
          </a:p>
        </p:txBody>
      </p:sp>
      <p:sp>
        <p:nvSpPr>
          <p:cNvPr id="21" name="TextBox 124">
            <a:extLst>
              <a:ext uri="{FF2B5EF4-FFF2-40B4-BE49-F238E27FC236}">
                <a16:creationId xmlns:a16="http://schemas.microsoft.com/office/drawing/2014/main" id="{1E30F6B6-0552-E130-31E8-01D1C2691437}"/>
              </a:ext>
            </a:extLst>
          </p:cNvPr>
          <p:cNvSpPr txBox="1"/>
          <p:nvPr/>
        </p:nvSpPr>
        <p:spPr>
          <a:xfrm>
            <a:off x="409082" y="5762570"/>
            <a:ext cx="1858378"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use simple language and avoid jargon where possible</a:t>
            </a:r>
          </a:p>
        </p:txBody>
      </p:sp>
      <p:sp>
        <p:nvSpPr>
          <p:cNvPr id="22" name="TextBox 124">
            <a:extLst>
              <a:ext uri="{FF2B5EF4-FFF2-40B4-BE49-F238E27FC236}">
                <a16:creationId xmlns:a16="http://schemas.microsoft.com/office/drawing/2014/main" id="{9EA8C42C-3532-AF5B-DC4D-18E91B7B0D9F}"/>
              </a:ext>
            </a:extLst>
          </p:cNvPr>
          <p:cNvSpPr txBox="1"/>
          <p:nvPr/>
        </p:nvSpPr>
        <p:spPr>
          <a:xfrm>
            <a:off x="409082" y="6368188"/>
            <a:ext cx="1858378"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raise any concerns about a proposal as early as possible</a:t>
            </a:r>
          </a:p>
        </p:txBody>
      </p:sp>
      <p:sp>
        <p:nvSpPr>
          <p:cNvPr id="23" name="TextBox 124">
            <a:extLst>
              <a:ext uri="{FF2B5EF4-FFF2-40B4-BE49-F238E27FC236}">
                <a16:creationId xmlns:a16="http://schemas.microsoft.com/office/drawing/2014/main" id="{83BD7F71-69F5-9382-8F46-CD15E6273D10}"/>
              </a:ext>
            </a:extLst>
          </p:cNvPr>
          <p:cNvSpPr txBox="1"/>
          <p:nvPr/>
        </p:nvSpPr>
        <p:spPr>
          <a:xfrm>
            <a:off x="409082" y="6970491"/>
            <a:ext cx="1991720" cy="400110"/>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communicate in a transparent and proactive way</a:t>
            </a:r>
          </a:p>
        </p:txBody>
      </p:sp>
      <p:grpSp>
        <p:nvGrpSpPr>
          <p:cNvPr id="6" name="Graphic 2">
            <a:extLst>
              <a:ext uri="{FF2B5EF4-FFF2-40B4-BE49-F238E27FC236}">
                <a16:creationId xmlns:a16="http://schemas.microsoft.com/office/drawing/2014/main" id="{6A2BEC64-6117-910D-C5EA-F68B113DFCBE}"/>
              </a:ext>
              <a:ext uri="{C183D7F6-B498-43B3-948B-1728B52AA6E4}">
                <adec:decorative xmlns:adec="http://schemas.microsoft.com/office/drawing/2017/decorative" val="1"/>
              </a:ext>
            </a:extLst>
          </p:cNvPr>
          <p:cNvGrpSpPr/>
          <p:nvPr/>
        </p:nvGrpSpPr>
        <p:grpSpPr>
          <a:xfrm>
            <a:off x="263505" y="4466443"/>
            <a:ext cx="221127" cy="213217"/>
            <a:chOff x="736421" y="15190987"/>
            <a:chExt cx="386554" cy="386555"/>
          </a:xfrm>
          <a:solidFill>
            <a:srgbClr val="017D7D"/>
          </a:solidFill>
        </p:grpSpPr>
        <p:sp>
          <p:nvSpPr>
            <p:cNvPr id="7" name="Freeform: Shape 6">
              <a:extLst>
                <a:ext uri="{FF2B5EF4-FFF2-40B4-BE49-F238E27FC236}">
                  <a16:creationId xmlns:a16="http://schemas.microsoft.com/office/drawing/2014/main" id="{3A8A205B-331C-CFE3-EBEF-0BE981F5256F}"/>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solidFill>
                  <a:srgbClr val="017D7D"/>
                </a:solidFill>
              </a:endParaRPr>
            </a:p>
          </p:txBody>
        </p:sp>
        <p:sp>
          <p:nvSpPr>
            <p:cNvPr id="8" name="Freeform: Shape 7">
              <a:extLst>
                <a:ext uri="{FF2B5EF4-FFF2-40B4-BE49-F238E27FC236}">
                  <a16:creationId xmlns:a16="http://schemas.microsoft.com/office/drawing/2014/main" id="{BF0E5D0F-DDEB-A1AA-AE90-2D50D70DFBA4}"/>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solidFill>
                  <a:srgbClr val="017D7D"/>
                </a:solidFill>
              </a:endParaRPr>
            </a:p>
          </p:txBody>
        </p:sp>
      </p:grpSp>
      <p:grpSp>
        <p:nvGrpSpPr>
          <p:cNvPr id="9" name="Graphic 2">
            <a:extLst>
              <a:ext uri="{FF2B5EF4-FFF2-40B4-BE49-F238E27FC236}">
                <a16:creationId xmlns:a16="http://schemas.microsoft.com/office/drawing/2014/main" id="{CD1735E3-79A0-AA44-EDDB-FA6BF6634E7A}"/>
              </a:ext>
              <a:ext uri="{C183D7F6-B498-43B3-948B-1728B52AA6E4}">
                <adec:decorative xmlns:adec="http://schemas.microsoft.com/office/drawing/2017/decorative" val="1"/>
              </a:ext>
            </a:extLst>
          </p:cNvPr>
          <p:cNvGrpSpPr/>
          <p:nvPr/>
        </p:nvGrpSpPr>
        <p:grpSpPr>
          <a:xfrm>
            <a:off x="261216" y="4058989"/>
            <a:ext cx="221127" cy="213217"/>
            <a:chOff x="736421" y="15190987"/>
            <a:chExt cx="386554" cy="386555"/>
          </a:xfrm>
          <a:solidFill>
            <a:srgbClr val="017D7D"/>
          </a:solidFill>
        </p:grpSpPr>
        <p:sp>
          <p:nvSpPr>
            <p:cNvPr id="10" name="Freeform: Shape 9">
              <a:extLst>
                <a:ext uri="{FF2B5EF4-FFF2-40B4-BE49-F238E27FC236}">
                  <a16:creationId xmlns:a16="http://schemas.microsoft.com/office/drawing/2014/main" id="{D1A704D7-BE59-BB14-ACBF-C6B9C7DA9571}"/>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solidFill>
                  <a:srgbClr val="017D7D"/>
                </a:solidFill>
              </a:endParaRPr>
            </a:p>
          </p:txBody>
        </p:sp>
        <p:sp>
          <p:nvSpPr>
            <p:cNvPr id="11" name="Freeform: Shape 10">
              <a:extLst>
                <a:ext uri="{FF2B5EF4-FFF2-40B4-BE49-F238E27FC236}">
                  <a16:creationId xmlns:a16="http://schemas.microsoft.com/office/drawing/2014/main" id="{68C87E29-6F5C-96BF-8979-5B84A99FBCE4}"/>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solidFill>
                  <a:srgbClr val="017D7D"/>
                </a:solidFill>
              </a:endParaRPr>
            </a:p>
          </p:txBody>
        </p:sp>
      </p:grpSp>
      <p:grpSp>
        <p:nvGrpSpPr>
          <p:cNvPr id="13" name="Graphic 2">
            <a:extLst>
              <a:ext uri="{FF2B5EF4-FFF2-40B4-BE49-F238E27FC236}">
                <a16:creationId xmlns:a16="http://schemas.microsoft.com/office/drawing/2014/main" id="{5D462C46-D98E-F299-90CD-8B6992C44E7E}"/>
              </a:ext>
              <a:ext uri="{C183D7F6-B498-43B3-948B-1728B52AA6E4}">
                <adec:decorative xmlns:adec="http://schemas.microsoft.com/office/drawing/2017/decorative" val="1"/>
              </a:ext>
            </a:extLst>
          </p:cNvPr>
          <p:cNvGrpSpPr/>
          <p:nvPr/>
        </p:nvGrpSpPr>
        <p:grpSpPr>
          <a:xfrm>
            <a:off x="266754" y="5086262"/>
            <a:ext cx="221127" cy="213217"/>
            <a:chOff x="736421" y="15190987"/>
            <a:chExt cx="386554" cy="386555"/>
          </a:xfrm>
          <a:solidFill>
            <a:srgbClr val="017D7D"/>
          </a:solidFill>
        </p:grpSpPr>
        <p:sp>
          <p:nvSpPr>
            <p:cNvPr id="14" name="Freeform: Shape 13">
              <a:extLst>
                <a:ext uri="{FF2B5EF4-FFF2-40B4-BE49-F238E27FC236}">
                  <a16:creationId xmlns:a16="http://schemas.microsoft.com/office/drawing/2014/main" id="{58B891F5-F4A0-C592-71D7-3936CFD44B31}"/>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solidFill>
                  <a:srgbClr val="017D7D"/>
                </a:solidFill>
              </a:endParaRPr>
            </a:p>
          </p:txBody>
        </p:sp>
        <p:sp>
          <p:nvSpPr>
            <p:cNvPr id="15" name="Freeform: Shape 14">
              <a:extLst>
                <a:ext uri="{FF2B5EF4-FFF2-40B4-BE49-F238E27FC236}">
                  <a16:creationId xmlns:a16="http://schemas.microsoft.com/office/drawing/2014/main" id="{A85BDB40-8669-561D-353F-0F9AC7D7577C}"/>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solidFill>
                  <a:srgbClr val="017D7D"/>
                </a:solidFill>
              </a:endParaRPr>
            </a:p>
          </p:txBody>
        </p:sp>
      </p:grpSp>
      <p:grpSp>
        <p:nvGrpSpPr>
          <p:cNvPr id="16" name="Graphic 2">
            <a:extLst>
              <a:ext uri="{FF2B5EF4-FFF2-40B4-BE49-F238E27FC236}">
                <a16:creationId xmlns:a16="http://schemas.microsoft.com/office/drawing/2014/main" id="{E12C1C85-6673-6C51-FF71-1EB332C0AF6B}"/>
              </a:ext>
              <a:ext uri="{C183D7F6-B498-43B3-948B-1728B52AA6E4}">
                <adec:decorative xmlns:adec="http://schemas.microsoft.com/office/drawing/2017/decorative" val="1"/>
              </a:ext>
            </a:extLst>
          </p:cNvPr>
          <p:cNvGrpSpPr/>
          <p:nvPr/>
        </p:nvGrpSpPr>
        <p:grpSpPr>
          <a:xfrm>
            <a:off x="266754" y="5841189"/>
            <a:ext cx="221127" cy="213217"/>
            <a:chOff x="736421" y="15190987"/>
            <a:chExt cx="386554" cy="386555"/>
          </a:xfrm>
          <a:solidFill>
            <a:srgbClr val="017D7D"/>
          </a:solidFill>
        </p:grpSpPr>
        <p:sp>
          <p:nvSpPr>
            <p:cNvPr id="17" name="Freeform: Shape 16">
              <a:extLst>
                <a:ext uri="{FF2B5EF4-FFF2-40B4-BE49-F238E27FC236}">
                  <a16:creationId xmlns:a16="http://schemas.microsoft.com/office/drawing/2014/main" id="{4A2C8209-6760-993A-4968-466D53A68807}"/>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solidFill>
                  <a:srgbClr val="017D7D"/>
                </a:solidFill>
              </a:endParaRPr>
            </a:p>
          </p:txBody>
        </p:sp>
        <p:sp>
          <p:nvSpPr>
            <p:cNvPr id="18" name="Freeform: Shape 17">
              <a:extLst>
                <a:ext uri="{FF2B5EF4-FFF2-40B4-BE49-F238E27FC236}">
                  <a16:creationId xmlns:a16="http://schemas.microsoft.com/office/drawing/2014/main" id="{884CD216-76AD-6B8F-EE0E-D20D35FE0E28}"/>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solidFill>
                  <a:srgbClr val="017D7D"/>
                </a:solidFill>
              </a:endParaRPr>
            </a:p>
          </p:txBody>
        </p:sp>
      </p:grpSp>
      <p:grpSp>
        <p:nvGrpSpPr>
          <p:cNvPr id="29" name="Graphic 2">
            <a:extLst>
              <a:ext uri="{FF2B5EF4-FFF2-40B4-BE49-F238E27FC236}">
                <a16:creationId xmlns:a16="http://schemas.microsoft.com/office/drawing/2014/main" id="{F08C773E-A2E6-6DB8-D54F-900739A51153}"/>
              </a:ext>
              <a:ext uri="{C183D7F6-B498-43B3-948B-1728B52AA6E4}">
                <adec:decorative xmlns:adec="http://schemas.microsoft.com/office/drawing/2017/decorative" val="1"/>
              </a:ext>
            </a:extLst>
          </p:cNvPr>
          <p:cNvGrpSpPr/>
          <p:nvPr/>
        </p:nvGrpSpPr>
        <p:grpSpPr>
          <a:xfrm>
            <a:off x="266754" y="6431970"/>
            <a:ext cx="221127" cy="213217"/>
            <a:chOff x="736421" y="15190987"/>
            <a:chExt cx="386554" cy="386555"/>
          </a:xfrm>
          <a:solidFill>
            <a:srgbClr val="017D7D"/>
          </a:solidFill>
        </p:grpSpPr>
        <p:sp>
          <p:nvSpPr>
            <p:cNvPr id="30" name="Freeform: Shape 29">
              <a:extLst>
                <a:ext uri="{FF2B5EF4-FFF2-40B4-BE49-F238E27FC236}">
                  <a16:creationId xmlns:a16="http://schemas.microsoft.com/office/drawing/2014/main" id="{8208BBB6-49BC-FD20-A276-910A03E5FC01}"/>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solidFill>
                  <a:srgbClr val="017D7D"/>
                </a:solidFill>
              </a:endParaRPr>
            </a:p>
          </p:txBody>
        </p:sp>
        <p:sp>
          <p:nvSpPr>
            <p:cNvPr id="31" name="Freeform: Shape 30">
              <a:extLst>
                <a:ext uri="{FF2B5EF4-FFF2-40B4-BE49-F238E27FC236}">
                  <a16:creationId xmlns:a16="http://schemas.microsoft.com/office/drawing/2014/main" id="{B9440D82-E76D-2E21-3BC7-B16542DEC3E6}"/>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solidFill>
                  <a:srgbClr val="017D7D"/>
                </a:solidFill>
              </a:endParaRPr>
            </a:p>
          </p:txBody>
        </p:sp>
      </p:grpSp>
      <p:grpSp>
        <p:nvGrpSpPr>
          <p:cNvPr id="32" name="Graphic 2">
            <a:extLst>
              <a:ext uri="{FF2B5EF4-FFF2-40B4-BE49-F238E27FC236}">
                <a16:creationId xmlns:a16="http://schemas.microsoft.com/office/drawing/2014/main" id="{B5FAB333-EC5B-4D1B-9A68-F080135EC66B}"/>
              </a:ext>
              <a:ext uri="{C183D7F6-B498-43B3-948B-1728B52AA6E4}">
                <adec:decorative xmlns:adec="http://schemas.microsoft.com/office/drawing/2017/decorative" val="1"/>
              </a:ext>
            </a:extLst>
          </p:cNvPr>
          <p:cNvGrpSpPr/>
          <p:nvPr/>
        </p:nvGrpSpPr>
        <p:grpSpPr>
          <a:xfrm>
            <a:off x="266754" y="7052641"/>
            <a:ext cx="221127" cy="213217"/>
            <a:chOff x="736421" y="15190987"/>
            <a:chExt cx="386554" cy="386555"/>
          </a:xfrm>
          <a:solidFill>
            <a:srgbClr val="017D7D"/>
          </a:solidFill>
        </p:grpSpPr>
        <p:sp>
          <p:nvSpPr>
            <p:cNvPr id="33" name="Freeform: Shape 32">
              <a:extLst>
                <a:ext uri="{FF2B5EF4-FFF2-40B4-BE49-F238E27FC236}">
                  <a16:creationId xmlns:a16="http://schemas.microsoft.com/office/drawing/2014/main" id="{D9921EA4-C171-F7B4-776E-22CDF1D08E6A}"/>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solidFill>
                  <a:srgbClr val="017D7D"/>
                </a:solidFill>
              </a:endParaRPr>
            </a:p>
          </p:txBody>
        </p:sp>
        <p:sp>
          <p:nvSpPr>
            <p:cNvPr id="34" name="Freeform: Shape 33">
              <a:extLst>
                <a:ext uri="{FF2B5EF4-FFF2-40B4-BE49-F238E27FC236}">
                  <a16:creationId xmlns:a16="http://schemas.microsoft.com/office/drawing/2014/main" id="{5F1FB7EF-31F0-C161-357F-3ED8CE52C03D}"/>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solidFill>
                  <a:srgbClr val="017D7D"/>
                </a:solidFill>
              </a:endParaRPr>
            </a:p>
          </p:txBody>
        </p:sp>
      </p:grpSp>
      <p:sp>
        <p:nvSpPr>
          <p:cNvPr id="158" name="TextBox 157">
            <a:extLst>
              <a:ext uri="{FF2B5EF4-FFF2-40B4-BE49-F238E27FC236}">
                <a16:creationId xmlns:a16="http://schemas.microsoft.com/office/drawing/2014/main" id="{ACD5ABB6-0E79-FA4D-2365-C905048E681B}"/>
              </a:ext>
            </a:extLst>
          </p:cNvPr>
          <p:cNvSpPr txBox="1"/>
          <p:nvPr/>
        </p:nvSpPr>
        <p:spPr>
          <a:xfrm>
            <a:off x="2422207" y="1640641"/>
            <a:ext cx="1355871" cy="553998"/>
          </a:xfrm>
          <a:prstGeom prst="rect">
            <a:avLst/>
          </a:prstGeom>
          <a:solidFill>
            <a:schemeClr val="accent6"/>
          </a:solidFill>
        </p:spPr>
        <p:txBody>
          <a:bodyPr wrap="square">
            <a:noAutofit/>
          </a:bodyPr>
          <a:lstStyle/>
          <a:p>
            <a:pPr algn="ctr"/>
            <a:r>
              <a:rPr lang="en-AU" sz="1000" dirty="0">
                <a:solidFill>
                  <a:schemeClr val="bg1"/>
                </a:solidFill>
              </a:rPr>
              <a:t>Applicant lodges a complete application</a:t>
            </a:r>
          </a:p>
        </p:txBody>
      </p:sp>
      <p:sp>
        <p:nvSpPr>
          <p:cNvPr id="61" name="Rectangle 60">
            <a:extLst>
              <a:ext uri="{FF2B5EF4-FFF2-40B4-BE49-F238E27FC236}">
                <a16:creationId xmlns:a16="http://schemas.microsoft.com/office/drawing/2014/main" id="{9ABD4016-367A-6EF7-AC13-F31B797F7B74}"/>
              </a:ext>
            </a:extLst>
          </p:cNvPr>
          <p:cNvSpPr/>
          <p:nvPr/>
        </p:nvSpPr>
        <p:spPr>
          <a:xfrm>
            <a:off x="2615271" y="2867589"/>
            <a:ext cx="1162807" cy="2322794"/>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200"/>
              </a:spcAft>
            </a:pPr>
            <a:r>
              <a:rPr lang="en-AU" sz="1000" b="1" dirty="0">
                <a:solidFill>
                  <a:schemeClr val="accent6"/>
                </a:solidFill>
              </a:rPr>
              <a:t>Day 0</a:t>
            </a:r>
          </a:p>
          <a:p>
            <a:pPr defTabSz="466522">
              <a:spcAft>
                <a:spcPts val="200"/>
              </a:spcAft>
            </a:pPr>
            <a:r>
              <a:rPr lang="en-AU" sz="1000" b="1" dirty="0">
                <a:solidFill>
                  <a:srgbClr val="017D7D"/>
                </a:solidFill>
              </a:rPr>
              <a:t>Lodgement</a:t>
            </a:r>
          </a:p>
          <a:p>
            <a:pPr defTabSz="466522">
              <a:spcAft>
                <a:spcPts val="600"/>
              </a:spcAft>
            </a:pPr>
            <a:r>
              <a:rPr lang="en-AU" sz="1000" dirty="0">
                <a:solidFill>
                  <a:schemeClr val="accent6"/>
                </a:solidFill>
                <a:cs typeface="Segoe UI Semilight"/>
              </a:rPr>
              <a:t>Applicant lodges application.</a:t>
            </a:r>
          </a:p>
          <a:p>
            <a:pPr defTabSz="466522">
              <a:spcAft>
                <a:spcPts val="200"/>
              </a:spcAft>
            </a:pPr>
            <a:r>
              <a:rPr lang="en-AU" sz="1000" dirty="0">
                <a:solidFill>
                  <a:schemeClr val="accent6"/>
                </a:solidFill>
                <a:cs typeface="Segoe UI Semilight"/>
              </a:rPr>
              <a:t>Council lodgement system issues automated receipt of submission. </a:t>
            </a:r>
          </a:p>
          <a:p>
            <a:pPr defTabSz="466522">
              <a:spcAft>
                <a:spcPts val="200"/>
              </a:spcAft>
            </a:pPr>
            <a:endParaRPr lang="en-AU" sz="1000" dirty="0">
              <a:solidFill>
                <a:schemeClr val="accent6"/>
              </a:solidFill>
              <a:cs typeface="Segoe UI Semilight"/>
            </a:endParaRPr>
          </a:p>
        </p:txBody>
      </p:sp>
      <p:sp>
        <p:nvSpPr>
          <p:cNvPr id="165" name="TextBox 164">
            <a:extLst>
              <a:ext uri="{FF2B5EF4-FFF2-40B4-BE49-F238E27FC236}">
                <a16:creationId xmlns:a16="http://schemas.microsoft.com/office/drawing/2014/main" id="{DDD65C15-50F6-CA65-815E-EEA69D685811}"/>
              </a:ext>
            </a:extLst>
          </p:cNvPr>
          <p:cNvSpPr txBox="1"/>
          <p:nvPr/>
        </p:nvSpPr>
        <p:spPr>
          <a:xfrm>
            <a:off x="2418912" y="6120208"/>
            <a:ext cx="1465445" cy="1015663"/>
          </a:xfrm>
          <a:prstGeom prst="rect">
            <a:avLst/>
          </a:prstGeom>
          <a:noFill/>
          <a:ln>
            <a:solidFill>
              <a:schemeClr val="tx2"/>
            </a:solidFill>
          </a:ln>
        </p:spPr>
        <p:txBody>
          <a:bodyPr wrap="square">
            <a:spAutoFit/>
          </a:bodyPr>
          <a:lstStyle/>
          <a:p>
            <a:pPr marL="0" marR="0" lvl="0" indent="0" algn="l" defTabSz="466522"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Semilight"/>
              </a:rPr>
              <a:t>Ideally, the secondary consent application will be allocated to the same planner who issued the original permit. </a:t>
            </a:r>
          </a:p>
        </p:txBody>
      </p:sp>
      <p:sp>
        <p:nvSpPr>
          <p:cNvPr id="159" name="TextBox 158">
            <a:extLst>
              <a:ext uri="{FF2B5EF4-FFF2-40B4-BE49-F238E27FC236}">
                <a16:creationId xmlns:a16="http://schemas.microsoft.com/office/drawing/2014/main" id="{2061F8FF-3D9B-FB17-7AAA-52FDC4602171}"/>
              </a:ext>
            </a:extLst>
          </p:cNvPr>
          <p:cNvSpPr txBox="1"/>
          <p:nvPr/>
        </p:nvSpPr>
        <p:spPr>
          <a:xfrm>
            <a:off x="3890929" y="1640641"/>
            <a:ext cx="5321169" cy="552516"/>
          </a:xfrm>
          <a:prstGeom prst="rect">
            <a:avLst/>
          </a:prstGeom>
          <a:solidFill>
            <a:schemeClr val="accent6"/>
          </a:solidFill>
        </p:spPr>
        <p:txBody>
          <a:bodyPr wrap="square">
            <a:noAutofit/>
          </a:bodyPr>
          <a:lstStyle/>
          <a:p>
            <a:pPr algn="ctr"/>
            <a:r>
              <a:rPr lang="en-AU" sz="1000" dirty="0">
                <a:solidFill>
                  <a:schemeClr val="bg1"/>
                </a:solidFill>
              </a:rPr>
              <a:t>Council efficiently assesses each application and consistently identifies missing information necessary to decide on the amendment application. The applicant is given the opportunity to provide further information to support Council’s decision</a:t>
            </a:r>
          </a:p>
        </p:txBody>
      </p:sp>
      <p:sp>
        <p:nvSpPr>
          <p:cNvPr id="53" name="Rectangle 52">
            <a:extLst>
              <a:ext uri="{FF2B5EF4-FFF2-40B4-BE49-F238E27FC236}">
                <a16:creationId xmlns:a16="http://schemas.microsoft.com/office/drawing/2014/main" id="{D17506E0-9DD0-8AFE-54C7-813425423AB1}"/>
              </a:ext>
            </a:extLst>
          </p:cNvPr>
          <p:cNvSpPr/>
          <p:nvPr/>
        </p:nvSpPr>
        <p:spPr>
          <a:xfrm>
            <a:off x="3985607" y="2873705"/>
            <a:ext cx="1474939" cy="43921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200"/>
              </a:spcAft>
            </a:pPr>
            <a:r>
              <a:rPr lang="en-AU" sz="1000" b="1" dirty="0">
                <a:solidFill>
                  <a:schemeClr val="accent6"/>
                </a:solidFill>
              </a:rPr>
              <a:t>Day 1-2</a:t>
            </a:r>
          </a:p>
          <a:p>
            <a:pPr defTabSz="466522">
              <a:spcAft>
                <a:spcPts val="200"/>
              </a:spcAft>
            </a:pPr>
            <a:r>
              <a:rPr lang="en-AU" sz="1000" b="1" dirty="0">
                <a:solidFill>
                  <a:srgbClr val="017D7D"/>
                </a:solidFill>
              </a:rPr>
              <a:t>Registration and Allocation</a:t>
            </a:r>
          </a:p>
          <a:p>
            <a:pPr defTabSz="466522">
              <a:spcAft>
                <a:spcPts val="600"/>
              </a:spcAft>
            </a:pPr>
            <a:r>
              <a:rPr lang="en-AU" sz="1000" dirty="0">
                <a:solidFill>
                  <a:schemeClr val="accent6"/>
                </a:solidFill>
                <a:cs typeface="Segoe UI Semilight"/>
              </a:rPr>
              <a:t>Council receives planning permit application.</a:t>
            </a:r>
          </a:p>
          <a:p>
            <a:pPr defTabSz="466522">
              <a:spcAft>
                <a:spcPts val="600"/>
              </a:spcAft>
            </a:pPr>
            <a:r>
              <a:rPr lang="en-AU" sz="1000" dirty="0">
                <a:solidFill>
                  <a:schemeClr val="accent6"/>
                </a:solidFill>
                <a:cs typeface="Segoe UI Semilight"/>
              </a:rPr>
              <a:t>Planning support uploads application to enterprise software (if relevant).</a:t>
            </a:r>
          </a:p>
          <a:p>
            <a:pPr defTabSz="466522">
              <a:spcAft>
                <a:spcPts val="600"/>
              </a:spcAft>
            </a:pPr>
            <a:r>
              <a:rPr lang="en-AU" sz="1000" dirty="0">
                <a:solidFill>
                  <a:schemeClr val="accent6"/>
                </a:solidFill>
                <a:cs typeface="Segoe UI Semilight"/>
              </a:rPr>
              <a:t>Planning support updates planning permit application register. </a:t>
            </a:r>
          </a:p>
          <a:p>
            <a:pPr defTabSz="466522">
              <a:spcAft>
                <a:spcPts val="600"/>
              </a:spcAft>
            </a:pPr>
            <a:r>
              <a:rPr lang="en-AU" sz="1000" dirty="0">
                <a:solidFill>
                  <a:schemeClr val="accent6"/>
                </a:solidFill>
                <a:cs typeface="Segoe UI Semilight"/>
              </a:rPr>
              <a:t>Planning support sends an email to applicant confirming the council has received their application.</a:t>
            </a:r>
          </a:p>
          <a:p>
            <a:pPr defTabSz="466522">
              <a:spcAft>
                <a:spcPts val="600"/>
              </a:spcAft>
            </a:pPr>
            <a:r>
              <a:rPr lang="en-AU" sz="1000" dirty="0">
                <a:solidFill>
                  <a:schemeClr val="accent6"/>
                </a:solidFill>
                <a:cs typeface="Segoe UI Semilight"/>
              </a:rPr>
              <a:t>Planning support issues invoices for unpaid fees or remittance advice. </a:t>
            </a:r>
          </a:p>
          <a:p>
            <a:pPr defTabSz="466522">
              <a:spcAft>
                <a:spcPts val="600"/>
              </a:spcAft>
            </a:pPr>
            <a:r>
              <a:rPr lang="en-AU" sz="1000" dirty="0">
                <a:solidFill>
                  <a:schemeClr val="accent6"/>
                </a:solidFill>
                <a:cs typeface="Segoe UI Semilight"/>
              </a:rPr>
              <a:t>Council planning management team reviews application and allocates to a planner.</a:t>
            </a:r>
          </a:p>
          <a:p>
            <a:pPr defTabSz="466522">
              <a:spcAft>
                <a:spcPts val="600"/>
              </a:spcAft>
            </a:pPr>
            <a:r>
              <a:rPr lang="en-AU" sz="1000" dirty="0">
                <a:solidFill>
                  <a:schemeClr val="accent6"/>
                </a:solidFill>
                <a:cs typeface="Segoe UI Semilight"/>
              </a:rPr>
              <a:t>Allocated planner is notified of the application.</a:t>
            </a:r>
          </a:p>
          <a:p>
            <a:pPr defTabSz="466522">
              <a:spcAft>
                <a:spcPts val="200"/>
              </a:spcAft>
            </a:pPr>
            <a:endParaRPr lang="en-AU" sz="1000" b="1" dirty="0">
              <a:solidFill>
                <a:srgbClr val="7F0D82"/>
              </a:solidFill>
            </a:endParaRPr>
          </a:p>
        </p:txBody>
      </p:sp>
      <p:sp>
        <p:nvSpPr>
          <p:cNvPr id="40" name="Rectangle 39">
            <a:extLst>
              <a:ext uri="{FF2B5EF4-FFF2-40B4-BE49-F238E27FC236}">
                <a16:creationId xmlns:a16="http://schemas.microsoft.com/office/drawing/2014/main" id="{9625DE0C-DE6A-1D4F-383A-DAE2B5C336F5}"/>
              </a:ext>
            </a:extLst>
          </p:cNvPr>
          <p:cNvSpPr/>
          <p:nvPr/>
        </p:nvSpPr>
        <p:spPr>
          <a:xfrm>
            <a:off x="5721938" y="2873705"/>
            <a:ext cx="1121561"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2-7</a:t>
            </a:r>
          </a:p>
          <a:p>
            <a:pPr defTabSz="466522">
              <a:spcAft>
                <a:spcPts val="300"/>
              </a:spcAft>
            </a:pPr>
            <a:r>
              <a:rPr lang="en-AU" sz="1000" b="1" dirty="0">
                <a:solidFill>
                  <a:srgbClr val="017D7D"/>
                </a:solidFill>
              </a:rPr>
              <a:t>Assessment</a:t>
            </a:r>
          </a:p>
          <a:p>
            <a:pPr defTabSz="466522">
              <a:spcAft>
                <a:spcPts val="600"/>
              </a:spcAft>
            </a:pPr>
            <a:r>
              <a:rPr lang="en-AU" sz="1000" dirty="0">
                <a:solidFill>
                  <a:schemeClr val="accent6"/>
                </a:solidFill>
                <a:cs typeface="Segoe UI Semilight"/>
              </a:rPr>
              <a:t>The allocated planner undertakes preliminary assessment to:</a:t>
            </a:r>
          </a:p>
          <a:p>
            <a:pPr marL="171450" indent="-171450" defTabSz="466522">
              <a:spcAft>
                <a:spcPts val="600"/>
              </a:spcAft>
              <a:buFont typeface="Arial" panose="020B0604020202020204" pitchFamily="34" charset="0"/>
              <a:buChar char="•"/>
            </a:pPr>
            <a:r>
              <a:rPr lang="en-AU" sz="1000" dirty="0">
                <a:solidFill>
                  <a:schemeClr val="accent6"/>
                </a:solidFill>
                <a:cs typeface="Segoe UI Semilight"/>
              </a:rPr>
              <a:t>identify any missing information</a:t>
            </a:r>
          </a:p>
          <a:p>
            <a:pPr marL="171450" indent="-171450" defTabSz="466522">
              <a:spcAft>
                <a:spcPts val="600"/>
              </a:spcAft>
              <a:buFont typeface="Arial" panose="020B0604020202020204" pitchFamily="34" charset="0"/>
              <a:buChar char="•"/>
            </a:pPr>
            <a:r>
              <a:rPr lang="en-AU" sz="1000" dirty="0">
                <a:solidFill>
                  <a:schemeClr val="accent6"/>
                </a:solidFill>
                <a:cs typeface="Segoe UI Semilight"/>
              </a:rPr>
              <a:t>identify any preliminary concerns</a:t>
            </a:r>
          </a:p>
          <a:p>
            <a:pPr marL="171450" indent="-171450" defTabSz="466522">
              <a:spcAft>
                <a:spcPts val="600"/>
              </a:spcAft>
              <a:buFont typeface="Arial" panose="020B0604020202020204" pitchFamily="34" charset="0"/>
              <a:buChar char="•"/>
            </a:pPr>
            <a:r>
              <a:rPr lang="en-AU" sz="1000" dirty="0">
                <a:solidFill>
                  <a:schemeClr val="accent6"/>
                </a:solidFill>
                <a:cs typeface="Segoe UI Semilight"/>
              </a:rPr>
              <a:t>identify any internal referrals</a:t>
            </a:r>
          </a:p>
          <a:p>
            <a:pPr defTabSz="466522">
              <a:spcAft>
                <a:spcPts val="600"/>
              </a:spcAft>
            </a:pPr>
            <a:r>
              <a:rPr lang="en-AU" sz="1000" dirty="0">
                <a:solidFill>
                  <a:schemeClr val="accent6"/>
                </a:solidFill>
                <a:cs typeface="Segoe UI Semilight"/>
              </a:rPr>
              <a:t>Planner refers application to internal Council departments (if required). </a:t>
            </a:r>
          </a:p>
        </p:txBody>
      </p:sp>
      <p:sp>
        <p:nvSpPr>
          <p:cNvPr id="43" name="Rectangle 42">
            <a:extLst>
              <a:ext uri="{FF2B5EF4-FFF2-40B4-BE49-F238E27FC236}">
                <a16:creationId xmlns:a16="http://schemas.microsoft.com/office/drawing/2014/main" id="{C75D4DCA-A74E-48EC-6E13-5B448EB30342}"/>
              </a:ext>
            </a:extLst>
          </p:cNvPr>
          <p:cNvSpPr/>
          <p:nvPr/>
        </p:nvSpPr>
        <p:spPr>
          <a:xfrm>
            <a:off x="6962413" y="2873705"/>
            <a:ext cx="1091016" cy="4102969"/>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7-14</a:t>
            </a:r>
          </a:p>
          <a:p>
            <a:pPr defTabSz="466522">
              <a:spcAft>
                <a:spcPts val="300"/>
              </a:spcAft>
            </a:pPr>
            <a:r>
              <a:rPr lang="en-AU" sz="1000" b="1" dirty="0">
                <a:solidFill>
                  <a:srgbClr val="017D7D"/>
                </a:solidFill>
              </a:rPr>
              <a:t>Request for additional information </a:t>
            </a:r>
            <a:r>
              <a:rPr lang="en-AU" sz="1000" dirty="0">
                <a:solidFill>
                  <a:srgbClr val="017D7D"/>
                </a:solidFill>
              </a:rPr>
              <a:t>(if required and at council discretion)</a:t>
            </a:r>
          </a:p>
          <a:p>
            <a:pPr defTabSz="466522">
              <a:spcAft>
                <a:spcPts val="600"/>
              </a:spcAft>
            </a:pPr>
            <a:r>
              <a:rPr lang="en-AU" sz="1000" dirty="0">
                <a:solidFill>
                  <a:schemeClr val="accent6"/>
                </a:solidFill>
                <a:cs typeface="Segoe UI Semilight"/>
              </a:rPr>
              <a:t>Applicant receives request</a:t>
            </a:r>
          </a:p>
          <a:p>
            <a:pPr defTabSz="466522">
              <a:spcAft>
                <a:spcPts val="600"/>
              </a:spcAft>
            </a:pPr>
            <a:r>
              <a:rPr lang="en-AU" sz="1000" dirty="0">
                <a:solidFill>
                  <a:schemeClr val="accent6"/>
                </a:solidFill>
                <a:cs typeface="Segoe UI Semilight"/>
              </a:rPr>
              <a:t>Applicant prepares response.</a:t>
            </a:r>
          </a:p>
          <a:p>
            <a:pPr defTabSz="466522">
              <a:spcAft>
                <a:spcPts val="600"/>
              </a:spcAft>
            </a:pPr>
            <a:r>
              <a:rPr lang="en-AU" sz="1000" dirty="0">
                <a:solidFill>
                  <a:schemeClr val="accent6"/>
                </a:solidFill>
                <a:cs typeface="Segoe UI Semilight"/>
              </a:rPr>
              <a:t>If necessary, the planner provides a request to the applicant.</a:t>
            </a:r>
          </a:p>
          <a:p>
            <a:pPr defTabSz="466522">
              <a:spcAft>
                <a:spcPts val="600"/>
              </a:spcAft>
            </a:pPr>
            <a:r>
              <a:rPr lang="en-AU" sz="1000" dirty="0">
                <a:solidFill>
                  <a:schemeClr val="accent6"/>
                </a:solidFill>
                <a:cs typeface="Segoe UI Semilight"/>
              </a:rPr>
              <a:t>Planner or planning support issues letter to applicant.</a:t>
            </a:r>
          </a:p>
          <a:p>
            <a:pPr defTabSz="466522"/>
            <a:endParaRPr lang="en-AU" sz="1000" dirty="0">
              <a:solidFill>
                <a:schemeClr val="accent6"/>
              </a:solidFill>
              <a:cs typeface="Segoe UI Semilight"/>
            </a:endParaRPr>
          </a:p>
        </p:txBody>
      </p:sp>
      <p:sp>
        <p:nvSpPr>
          <p:cNvPr id="46" name="Rectangle 45">
            <a:extLst>
              <a:ext uri="{FF2B5EF4-FFF2-40B4-BE49-F238E27FC236}">
                <a16:creationId xmlns:a16="http://schemas.microsoft.com/office/drawing/2014/main" id="{F7340380-8535-65C9-ED26-FA1F6883C0AA}"/>
              </a:ext>
            </a:extLst>
          </p:cNvPr>
          <p:cNvSpPr/>
          <p:nvPr/>
        </p:nvSpPr>
        <p:spPr>
          <a:xfrm>
            <a:off x="8195905" y="2873705"/>
            <a:ext cx="1123201"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14-21</a:t>
            </a:r>
          </a:p>
          <a:p>
            <a:pPr defTabSz="466522">
              <a:spcAft>
                <a:spcPts val="300"/>
              </a:spcAft>
            </a:pPr>
            <a:r>
              <a:rPr lang="en-AU" sz="1000" b="1" dirty="0">
                <a:solidFill>
                  <a:srgbClr val="017D7D"/>
                </a:solidFill>
                <a:cs typeface="Segoe UI"/>
              </a:rPr>
              <a:t>Response Review </a:t>
            </a:r>
            <a:r>
              <a:rPr lang="en-AU" sz="1000" dirty="0">
                <a:solidFill>
                  <a:srgbClr val="017D7D"/>
                </a:solidFill>
                <a:cs typeface="Segoe UI"/>
              </a:rPr>
              <a:t>(if required) </a:t>
            </a:r>
          </a:p>
          <a:p>
            <a:pPr>
              <a:spcAft>
                <a:spcPts val="600"/>
              </a:spcAft>
            </a:pPr>
            <a:r>
              <a:rPr lang="en-AU" sz="1000" dirty="0">
                <a:solidFill>
                  <a:schemeClr val="accent6"/>
                </a:solidFill>
              </a:rPr>
              <a:t>Council receives the additional information.</a:t>
            </a:r>
          </a:p>
          <a:p>
            <a:pPr>
              <a:spcAft>
                <a:spcPts val="600"/>
              </a:spcAft>
            </a:pPr>
            <a:r>
              <a:rPr lang="en-AU" sz="1000" dirty="0">
                <a:solidFill>
                  <a:schemeClr val="accent6"/>
                </a:solidFill>
              </a:rPr>
              <a:t>Planning support uploads the information response to enterprise software (if relevant).</a:t>
            </a:r>
          </a:p>
          <a:p>
            <a:pPr>
              <a:spcAft>
                <a:spcPts val="600"/>
              </a:spcAft>
            </a:pPr>
            <a:r>
              <a:rPr lang="en-AU" sz="1000" dirty="0">
                <a:solidFill>
                  <a:schemeClr val="accent6"/>
                </a:solidFill>
              </a:rPr>
              <a:t>Planner reviews the supplied information within one week of lodgement. </a:t>
            </a:r>
          </a:p>
        </p:txBody>
      </p:sp>
      <p:cxnSp>
        <p:nvCxnSpPr>
          <p:cNvPr id="41" name="Straight Connector 40">
            <a:extLst>
              <a:ext uri="{FF2B5EF4-FFF2-40B4-BE49-F238E27FC236}">
                <a16:creationId xmlns:a16="http://schemas.microsoft.com/office/drawing/2014/main" id="{FDD33229-B127-4FD6-DAFA-70F2689D479C}"/>
              </a:ext>
              <a:ext uri="{C183D7F6-B498-43B3-948B-1728B52AA6E4}">
                <adec:decorative xmlns:adec="http://schemas.microsoft.com/office/drawing/2017/decorative" val="1"/>
              </a:ext>
            </a:extLst>
          </p:cNvPr>
          <p:cNvCxnSpPr>
            <a:cxnSpLocks/>
            <a:stCxn id="130" idx="4"/>
          </p:cNvCxnSpPr>
          <p:nvPr/>
        </p:nvCxnSpPr>
        <p:spPr>
          <a:xfrm>
            <a:off x="5613291"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42" name="Graphic 10">
            <a:extLst>
              <a:ext uri="{FF2B5EF4-FFF2-40B4-BE49-F238E27FC236}">
                <a16:creationId xmlns:a16="http://schemas.microsoft.com/office/drawing/2014/main" id="{2954446B-8AD5-9F86-4C39-FC248D313046}"/>
              </a:ext>
              <a:ext uri="{C183D7F6-B498-43B3-948B-1728B52AA6E4}">
                <adec:decorative xmlns:adec="http://schemas.microsoft.com/office/drawing/2017/decorative" val="1"/>
              </a:ext>
            </a:extLst>
          </p:cNvPr>
          <p:cNvGrpSpPr/>
          <p:nvPr/>
        </p:nvGrpSpPr>
        <p:grpSpPr>
          <a:xfrm>
            <a:off x="6943065" y="2650570"/>
            <a:ext cx="229011" cy="229011"/>
            <a:chOff x="4793612" y="3718427"/>
            <a:chExt cx="255295" cy="255295"/>
          </a:xfrm>
          <a:solidFill>
            <a:schemeClr val="accent5"/>
          </a:solidFill>
        </p:grpSpPr>
        <p:sp>
          <p:nvSpPr>
            <p:cNvPr id="153" name="Freeform: Shape 152">
              <a:extLst>
                <a:ext uri="{FF2B5EF4-FFF2-40B4-BE49-F238E27FC236}">
                  <a16:creationId xmlns:a16="http://schemas.microsoft.com/office/drawing/2014/main" id="{11DA316A-7312-2C36-032C-311A88418C0A}"/>
                </a:ext>
              </a:extLst>
            </p:cNvPr>
            <p:cNvSpPr/>
            <p:nvPr/>
          </p:nvSpPr>
          <p:spPr>
            <a:xfrm>
              <a:off x="4793612" y="3718427"/>
              <a:ext cx="255295" cy="255295"/>
            </a:xfrm>
            <a:custGeom>
              <a:avLst/>
              <a:gdLst>
                <a:gd name="connsiteX0" fmla="*/ 127648 w 255295"/>
                <a:gd name="connsiteY0" fmla="*/ 243775 h 255295"/>
                <a:gd name="connsiteX1" fmla="*/ 11521 w 255295"/>
                <a:gd name="connsiteY1" fmla="*/ 127648 h 255295"/>
                <a:gd name="connsiteX2" fmla="*/ 127648 w 255295"/>
                <a:gd name="connsiteY2" fmla="*/ 11521 h 255295"/>
                <a:gd name="connsiteX3" fmla="*/ 243774 w 255295"/>
                <a:gd name="connsiteY3" fmla="*/ 127648 h 255295"/>
                <a:gd name="connsiteX4" fmla="*/ 127648 w 255295"/>
                <a:gd name="connsiteY4" fmla="*/ 243775 h 255295"/>
                <a:gd name="connsiteX5" fmla="*/ 127648 w 255295"/>
                <a:gd name="connsiteY5" fmla="*/ 0 h 255295"/>
                <a:gd name="connsiteX6" fmla="*/ 0 w 255295"/>
                <a:gd name="connsiteY6" fmla="*/ 127648 h 255295"/>
                <a:gd name="connsiteX7" fmla="*/ 127648 w 255295"/>
                <a:gd name="connsiteY7" fmla="*/ 255296 h 255295"/>
                <a:gd name="connsiteX8" fmla="*/ 255296 w 255295"/>
                <a:gd name="connsiteY8" fmla="*/ 127648 h 255295"/>
                <a:gd name="connsiteX9" fmla="*/ 127648 w 255295"/>
                <a:gd name="connsiteY9" fmla="*/ 0 h 2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95" h="255295">
                  <a:moveTo>
                    <a:pt x="127648" y="243775"/>
                  </a:moveTo>
                  <a:cubicBezTo>
                    <a:pt x="63539" y="243775"/>
                    <a:pt x="11521" y="191871"/>
                    <a:pt x="11521" y="127648"/>
                  </a:cubicBezTo>
                  <a:cubicBezTo>
                    <a:pt x="11521" y="63425"/>
                    <a:pt x="63425" y="11521"/>
                    <a:pt x="127648" y="11521"/>
                  </a:cubicBezTo>
                  <a:cubicBezTo>
                    <a:pt x="191871" y="11521"/>
                    <a:pt x="243774" y="63425"/>
                    <a:pt x="243774" y="127648"/>
                  </a:cubicBezTo>
                  <a:cubicBezTo>
                    <a:pt x="243774" y="191871"/>
                    <a:pt x="191871" y="243775"/>
                    <a:pt x="127648" y="243775"/>
                  </a:cubicBezTo>
                  <a:moveTo>
                    <a:pt x="127648" y="0"/>
                  </a:moveTo>
                  <a:cubicBezTo>
                    <a:pt x="57151" y="0"/>
                    <a:pt x="0" y="57151"/>
                    <a:pt x="0" y="127648"/>
                  </a:cubicBezTo>
                  <a:cubicBezTo>
                    <a:pt x="0" y="198145"/>
                    <a:pt x="57151" y="255296"/>
                    <a:pt x="127648" y="255296"/>
                  </a:cubicBezTo>
                  <a:cubicBezTo>
                    <a:pt x="198145" y="255296"/>
                    <a:pt x="255296" y="198145"/>
                    <a:pt x="255296" y="127648"/>
                  </a:cubicBezTo>
                  <a:cubicBezTo>
                    <a:pt x="255296" y="57151"/>
                    <a:pt x="198145" y="0"/>
                    <a:pt x="127648"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4" name="Freeform: Shape 153">
              <a:extLst>
                <a:ext uri="{FF2B5EF4-FFF2-40B4-BE49-F238E27FC236}">
                  <a16:creationId xmlns:a16="http://schemas.microsoft.com/office/drawing/2014/main" id="{9577A467-DE07-8B9A-6B52-46A2DFFB6788}"/>
                </a:ext>
              </a:extLst>
            </p:cNvPr>
            <p:cNvSpPr/>
            <p:nvPr/>
          </p:nvSpPr>
          <p:spPr>
            <a:xfrm>
              <a:off x="4793612" y="3718427"/>
              <a:ext cx="255295" cy="255295"/>
            </a:xfrm>
            <a:custGeom>
              <a:avLst/>
              <a:gdLst>
                <a:gd name="connsiteX0" fmla="*/ 127648 w 255295"/>
                <a:gd name="connsiteY0" fmla="*/ 243775 h 255295"/>
                <a:gd name="connsiteX1" fmla="*/ 11521 w 255295"/>
                <a:gd name="connsiteY1" fmla="*/ 127648 h 255295"/>
                <a:gd name="connsiteX2" fmla="*/ 127648 w 255295"/>
                <a:gd name="connsiteY2" fmla="*/ 11521 h 255295"/>
                <a:gd name="connsiteX3" fmla="*/ 243774 w 255295"/>
                <a:gd name="connsiteY3" fmla="*/ 127648 h 255295"/>
                <a:gd name="connsiteX4" fmla="*/ 127648 w 255295"/>
                <a:gd name="connsiteY4" fmla="*/ 243775 h 255295"/>
                <a:gd name="connsiteX5" fmla="*/ 127648 w 255295"/>
                <a:gd name="connsiteY5" fmla="*/ 0 h 255295"/>
                <a:gd name="connsiteX6" fmla="*/ 0 w 255295"/>
                <a:gd name="connsiteY6" fmla="*/ 127648 h 255295"/>
                <a:gd name="connsiteX7" fmla="*/ 127648 w 255295"/>
                <a:gd name="connsiteY7" fmla="*/ 255296 h 255295"/>
                <a:gd name="connsiteX8" fmla="*/ 255296 w 255295"/>
                <a:gd name="connsiteY8" fmla="*/ 127648 h 255295"/>
                <a:gd name="connsiteX9" fmla="*/ 127648 w 255295"/>
                <a:gd name="connsiteY9" fmla="*/ 0 h 2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95" h="255295">
                  <a:moveTo>
                    <a:pt x="127648" y="243775"/>
                  </a:moveTo>
                  <a:cubicBezTo>
                    <a:pt x="63539" y="243775"/>
                    <a:pt x="11521" y="191871"/>
                    <a:pt x="11521" y="127648"/>
                  </a:cubicBezTo>
                  <a:cubicBezTo>
                    <a:pt x="11521" y="63425"/>
                    <a:pt x="63425" y="11521"/>
                    <a:pt x="127648" y="11521"/>
                  </a:cubicBezTo>
                  <a:cubicBezTo>
                    <a:pt x="191871" y="11521"/>
                    <a:pt x="243774" y="63425"/>
                    <a:pt x="243774" y="127648"/>
                  </a:cubicBezTo>
                  <a:cubicBezTo>
                    <a:pt x="243774" y="191871"/>
                    <a:pt x="191871" y="243775"/>
                    <a:pt x="127648" y="243775"/>
                  </a:cubicBezTo>
                  <a:moveTo>
                    <a:pt x="127648" y="0"/>
                  </a:moveTo>
                  <a:cubicBezTo>
                    <a:pt x="57151" y="0"/>
                    <a:pt x="0" y="57151"/>
                    <a:pt x="0" y="127648"/>
                  </a:cubicBezTo>
                  <a:cubicBezTo>
                    <a:pt x="0" y="198145"/>
                    <a:pt x="57151" y="255296"/>
                    <a:pt x="127648" y="255296"/>
                  </a:cubicBezTo>
                  <a:cubicBezTo>
                    <a:pt x="198145" y="255296"/>
                    <a:pt x="255296" y="198145"/>
                    <a:pt x="255296" y="127648"/>
                  </a:cubicBezTo>
                  <a:cubicBezTo>
                    <a:pt x="255296" y="57151"/>
                    <a:pt x="198145" y="0"/>
                    <a:pt x="127648" y="0"/>
                  </a:cubicBezTo>
                </a:path>
              </a:pathLst>
            </a:custGeom>
            <a:grpFill/>
            <a:ln w="11403" cap="flat">
              <a:noFill/>
              <a:prstDash val="solid"/>
              <a:miter/>
            </a:ln>
          </p:spPr>
          <p:txBody>
            <a:bodyPr rtlCol="0" anchor="ctr"/>
            <a:lstStyle/>
            <a:p>
              <a:pPr defTabSz="466522"/>
              <a:endParaRPr lang="en-AU" sz="1000">
                <a:solidFill>
                  <a:prstClr val="black"/>
                </a:solidFill>
              </a:endParaRPr>
            </a:p>
          </p:txBody>
        </p:sp>
        <p:grpSp>
          <p:nvGrpSpPr>
            <p:cNvPr id="155" name="Graphic 10">
              <a:extLst>
                <a:ext uri="{FF2B5EF4-FFF2-40B4-BE49-F238E27FC236}">
                  <a16:creationId xmlns:a16="http://schemas.microsoft.com/office/drawing/2014/main" id="{0210470E-40DC-A741-365B-E0760A659ABC}"/>
                </a:ext>
              </a:extLst>
            </p:cNvPr>
            <p:cNvGrpSpPr/>
            <p:nvPr/>
          </p:nvGrpSpPr>
          <p:grpSpPr>
            <a:xfrm>
              <a:off x="4884528" y="3788240"/>
              <a:ext cx="73348" cy="115555"/>
              <a:chOff x="4884528" y="3788240"/>
              <a:chExt cx="73348" cy="115555"/>
            </a:xfrm>
            <a:grpFill/>
          </p:grpSpPr>
          <p:sp>
            <p:nvSpPr>
              <p:cNvPr id="156" name="Freeform: Shape 155">
                <a:extLst>
                  <a:ext uri="{FF2B5EF4-FFF2-40B4-BE49-F238E27FC236}">
                    <a16:creationId xmlns:a16="http://schemas.microsoft.com/office/drawing/2014/main" id="{5319C901-E0A1-D1CE-E2FF-58E54A1F3CA9}"/>
                  </a:ext>
                </a:extLst>
              </p:cNvPr>
              <p:cNvSpPr/>
              <p:nvPr/>
            </p:nvSpPr>
            <p:spPr>
              <a:xfrm>
                <a:off x="4884528" y="3788240"/>
                <a:ext cx="73348" cy="85668"/>
              </a:xfrm>
              <a:custGeom>
                <a:avLst/>
                <a:gdLst>
                  <a:gd name="connsiteX0" fmla="*/ 69014 w 73348"/>
                  <a:gd name="connsiteY0" fmla="*/ 15172 h 85668"/>
                  <a:gd name="connsiteX1" fmla="*/ 56466 w 73348"/>
                  <a:gd name="connsiteY1" fmla="*/ 4106 h 85668"/>
                  <a:gd name="connsiteX2" fmla="*/ 37644 w 73348"/>
                  <a:gd name="connsiteY2" fmla="*/ 0 h 85668"/>
                  <a:gd name="connsiteX3" fmla="*/ 17567 w 73348"/>
                  <a:gd name="connsiteY3" fmla="*/ 4905 h 85668"/>
                  <a:gd name="connsiteX4" fmla="*/ 4449 w 73348"/>
                  <a:gd name="connsiteY4" fmla="*/ 17225 h 85668"/>
                  <a:gd name="connsiteX5" fmla="*/ 0 w 73348"/>
                  <a:gd name="connsiteY5" fmla="*/ 31826 h 85668"/>
                  <a:gd name="connsiteX6" fmla="*/ 2738 w 73348"/>
                  <a:gd name="connsiteY6" fmla="*/ 38214 h 85668"/>
                  <a:gd name="connsiteX7" fmla="*/ 9582 w 73348"/>
                  <a:gd name="connsiteY7" fmla="*/ 41180 h 85668"/>
                  <a:gd name="connsiteX8" fmla="*/ 18822 w 73348"/>
                  <a:gd name="connsiteY8" fmla="*/ 32739 h 85668"/>
                  <a:gd name="connsiteX9" fmla="*/ 25438 w 73348"/>
                  <a:gd name="connsiteY9" fmla="*/ 19963 h 85668"/>
                  <a:gd name="connsiteX10" fmla="*/ 37644 w 73348"/>
                  <a:gd name="connsiteY10" fmla="*/ 15628 h 85668"/>
                  <a:gd name="connsiteX11" fmla="*/ 49165 w 73348"/>
                  <a:gd name="connsiteY11" fmla="*/ 19963 h 85668"/>
                  <a:gd name="connsiteX12" fmla="*/ 53615 w 73348"/>
                  <a:gd name="connsiteY12" fmla="*/ 30572 h 85668"/>
                  <a:gd name="connsiteX13" fmla="*/ 52131 w 73348"/>
                  <a:gd name="connsiteY13" fmla="*/ 36503 h 85668"/>
                  <a:gd name="connsiteX14" fmla="*/ 48481 w 73348"/>
                  <a:gd name="connsiteY14" fmla="*/ 41408 h 85668"/>
                  <a:gd name="connsiteX15" fmla="*/ 41637 w 73348"/>
                  <a:gd name="connsiteY15" fmla="*/ 47911 h 85668"/>
                  <a:gd name="connsiteX16" fmla="*/ 33081 w 73348"/>
                  <a:gd name="connsiteY16" fmla="*/ 56352 h 85668"/>
                  <a:gd name="connsiteX17" fmla="*/ 28062 w 73348"/>
                  <a:gd name="connsiteY17" fmla="*/ 64565 h 85668"/>
                  <a:gd name="connsiteX18" fmla="*/ 26123 w 73348"/>
                  <a:gd name="connsiteY18" fmla="*/ 75630 h 85668"/>
                  <a:gd name="connsiteX19" fmla="*/ 28632 w 73348"/>
                  <a:gd name="connsiteY19" fmla="*/ 83159 h 85668"/>
                  <a:gd name="connsiteX20" fmla="*/ 34906 w 73348"/>
                  <a:gd name="connsiteY20" fmla="*/ 85669 h 85668"/>
                  <a:gd name="connsiteX21" fmla="*/ 43462 w 73348"/>
                  <a:gd name="connsiteY21" fmla="*/ 78026 h 85668"/>
                  <a:gd name="connsiteX22" fmla="*/ 44717 w 73348"/>
                  <a:gd name="connsiteY22" fmla="*/ 72665 h 85668"/>
                  <a:gd name="connsiteX23" fmla="*/ 45857 w 73348"/>
                  <a:gd name="connsiteY23" fmla="*/ 69584 h 85668"/>
                  <a:gd name="connsiteX24" fmla="*/ 48139 w 73348"/>
                  <a:gd name="connsiteY24" fmla="*/ 66276 h 85668"/>
                  <a:gd name="connsiteX25" fmla="*/ 52131 w 73348"/>
                  <a:gd name="connsiteY25" fmla="*/ 62055 h 85668"/>
                  <a:gd name="connsiteX26" fmla="*/ 64793 w 73348"/>
                  <a:gd name="connsiteY26" fmla="*/ 50078 h 85668"/>
                  <a:gd name="connsiteX27" fmla="*/ 70839 w 73348"/>
                  <a:gd name="connsiteY27" fmla="*/ 41637 h 85668"/>
                  <a:gd name="connsiteX28" fmla="*/ 73349 w 73348"/>
                  <a:gd name="connsiteY28" fmla="*/ 30343 h 85668"/>
                  <a:gd name="connsiteX29" fmla="*/ 68900 w 73348"/>
                  <a:gd name="connsiteY29" fmla="*/ 15172 h 8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3348" h="85668">
                    <a:moveTo>
                      <a:pt x="69014" y="15172"/>
                    </a:moveTo>
                    <a:cubicBezTo>
                      <a:pt x="66048" y="10495"/>
                      <a:pt x="61828" y="6844"/>
                      <a:pt x="56466" y="4106"/>
                    </a:cubicBezTo>
                    <a:cubicBezTo>
                      <a:pt x="50991" y="1369"/>
                      <a:pt x="44717" y="0"/>
                      <a:pt x="37644" y="0"/>
                    </a:cubicBezTo>
                    <a:cubicBezTo>
                      <a:pt x="30001" y="0"/>
                      <a:pt x="23271" y="1597"/>
                      <a:pt x="17567" y="4905"/>
                    </a:cubicBezTo>
                    <a:cubicBezTo>
                      <a:pt x="11864" y="8213"/>
                      <a:pt x="7415" y="12320"/>
                      <a:pt x="4449" y="17225"/>
                    </a:cubicBezTo>
                    <a:cubicBezTo>
                      <a:pt x="1483" y="22130"/>
                      <a:pt x="0" y="27035"/>
                      <a:pt x="0" y="31826"/>
                    </a:cubicBezTo>
                    <a:cubicBezTo>
                      <a:pt x="0" y="34108"/>
                      <a:pt x="912" y="36275"/>
                      <a:pt x="2738" y="38214"/>
                    </a:cubicBezTo>
                    <a:cubicBezTo>
                      <a:pt x="4563" y="40154"/>
                      <a:pt x="6844" y="41180"/>
                      <a:pt x="9582" y="41180"/>
                    </a:cubicBezTo>
                    <a:cubicBezTo>
                      <a:pt x="14145" y="41180"/>
                      <a:pt x="17225" y="38443"/>
                      <a:pt x="18822" y="32739"/>
                    </a:cubicBezTo>
                    <a:cubicBezTo>
                      <a:pt x="20647" y="27149"/>
                      <a:pt x="22815" y="22815"/>
                      <a:pt x="25438" y="19963"/>
                    </a:cubicBezTo>
                    <a:cubicBezTo>
                      <a:pt x="28062" y="17111"/>
                      <a:pt x="32169" y="15628"/>
                      <a:pt x="37644" y="15628"/>
                    </a:cubicBezTo>
                    <a:cubicBezTo>
                      <a:pt x="42321" y="15628"/>
                      <a:pt x="46199" y="17111"/>
                      <a:pt x="49165" y="19963"/>
                    </a:cubicBezTo>
                    <a:cubicBezTo>
                      <a:pt x="52131" y="22815"/>
                      <a:pt x="53615" y="26351"/>
                      <a:pt x="53615" y="30572"/>
                    </a:cubicBezTo>
                    <a:cubicBezTo>
                      <a:pt x="53615" y="32739"/>
                      <a:pt x="53158" y="34678"/>
                      <a:pt x="52131" y="36503"/>
                    </a:cubicBezTo>
                    <a:cubicBezTo>
                      <a:pt x="51105" y="38328"/>
                      <a:pt x="49964" y="39926"/>
                      <a:pt x="48481" y="41408"/>
                    </a:cubicBezTo>
                    <a:cubicBezTo>
                      <a:pt x="47112" y="42891"/>
                      <a:pt x="44831" y="45059"/>
                      <a:pt x="41637" y="47911"/>
                    </a:cubicBezTo>
                    <a:cubicBezTo>
                      <a:pt x="38100" y="51105"/>
                      <a:pt x="35134" y="53956"/>
                      <a:pt x="33081" y="56352"/>
                    </a:cubicBezTo>
                    <a:cubicBezTo>
                      <a:pt x="31028" y="58748"/>
                      <a:pt x="29317" y="61485"/>
                      <a:pt x="28062" y="64565"/>
                    </a:cubicBezTo>
                    <a:cubicBezTo>
                      <a:pt x="26807" y="67645"/>
                      <a:pt x="26123" y="71410"/>
                      <a:pt x="26123" y="75630"/>
                    </a:cubicBezTo>
                    <a:cubicBezTo>
                      <a:pt x="26123" y="78938"/>
                      <a:pt x="27035" y="81448"/>
                      <a:pt x="28632" y="83159"/>
                    </a:cubicBezTo>
                    <a:cubicBezTo>
                      <a:pt x="30229" y="84870"/>
                      <a:pt x="32397" y="85669"/>
                      <a:pt x="34906" y="85669"/>
                    </a:cubicBezTo>
                    <a:cubicBezTo>
                      <a:pt x="39698" y="85669"/>
                      <a:pt x="42549" y="83045"/>
                      <a:pt x="43462" y="78026"/>
                    </a:cubicBezTo>
                    <a:cubicBezTo>
                      <a:pt x="44032" y="75402"/>
                      <a:pt x="44488" y="73691"/>
                      <a:pt x="44717" y="72665"/>
                    </a:cubicBezTo>
                    <a:cubicBezTo>
                      <a:pt x="44945" y="71638"/>
                      <a:pt x="45401" y="70611"/>
                      <a:pt x="45857" y="69584"/>
                    </a:cubicBezTo>
                    <a:cubicBezTo>
                      <a:pt x="46314" y="68558"/>
                      <a:pt x="47112" y="67417"/>
                      <a:pt x="48139" y="66276"/>
                    </a:cubicBezTo>
                    <a:cubicBezTo>
                      <a:pt x="49165" y="65136"/>
                      <a:pt x="50534" y="63653"/>
                      <a:pt x="52131" y="62055"/>
                    </a:cubicBezTo>
                    <a:cubicBezTo>
                      <a:pt x="58177" y="56466"/>
                      <a:pt x="62398" y="52360"/>
                      <a:pt x="64793" y="50078"/>
                    </a:cubicBezTo>
                    <a:cubicBezTo>
                      <a:pt x="67075" y="47796"/>
                      <a:pt x="69128" y="44944"/>
                      <a:pt x="70839" y="41637"/>
                    </a:cubicBezTo>
                    <a:cubicBezTo>
                      <a:pt x="72550" y="38443"/>
                      <a:pt x="73349" y="34678"/>
                      <a:pt x="73349" y="30343"/>
                    </a:cubicBezTo>
                    <a:cubicBezTo>
                      <a:pt x="73349" y="24868"/>
                      <a:pt x="71866" y="19849"/>
                      <a:pt x="68900" y="15172"/>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7" name="Freeform: Shape 156">
                <a:extLst>
                  <a:ext uri="{FF2B5EF4-FFF2-40B4-BE49-F238E27FC236}">
                    <a16:creationId xmlns:a16="http://schemas.microsoft.com/office/drawing/2014/main" id="{C3AB3D22-458A-829E-15A4-185A7AB3E35A}"/>
                  </a:ext>
                </a:extLst>
              </p:cNvPr>
              <p:cNvSpPr/>
              <p:nvPr/>
            </p:nvSpPr>
            <p:spPr>
              <a:xfrm>
                <a:off x="4909396" y="3881537"/>
                <a:ext cx="21788" cy="22258"/>
              </a:xfrm>
              <a:custGeom>
                <a:avLst/>
                <a:gdLst>
                  <a:gd name="connsiteX0" fmla="*/ 3194 w 21788"/>
                  <a:gd name="connsiteY0" fmla="*/ 3208 h 22258"/>
                  <a:gd name="connsiteX1" fmla="*/ 0 w 21788"/>
                  <a:gd name="connsiteY1" fmla="*/ 11080 h 22258"/>
                  <a:gd name="connsiteX2" fmla="*/ 3308 w 21788"/>
                  <a:gd name="connsiteY2" fmla="*/ 19293 h 22258"/>
                  <a:gd name="connsiteX3" fmla="*/ 11065 w 21788"/>
                  <a:gd name="connsiteY3" fmla="*/ 22258 h 22258"/>
                  <a:gd name="connsiteX4" fmla="*/ 18594 w 21788"/>
                  <a:gd name="connsiteY4" fmla="*/ 19293 h 22258"/>
                  <a:gd name="connsiteX5" fmla="*/ 21788 w 21788"/>
                  <a:gd name="connsiteY5" fmla="*/ 11080 h 22258"/>
                  <a:gd name="connsiteX6" fmla="*/ 18708 w 21788"/>
                  <a:gd name="connsiteY6" fmla="*/ 3208 h 22258"/>
                  <a:gd name="connsiteX7" fmla="*/ 3194 w 21788"/>
                  <a:gd name="connsiteY7" fmla="*/ 3208 h 2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88" h="22258">
                    <a:moveTo>
                      <a:pt x="3194" y="3208"/>
                    </a:moveTo>
                    <a:cubicBezTo>
                      <a:pt x="1027" y="5376"/>
                      <a:pt x="0" y="7999"/>
                      <a:pt x="0" y="11080"/>
                    </a:cubicBezTo>
                    <a:cubicBezTo>
                      <a:pt x="0" y="14616"/>
                      <a:pt x="1141" y="17353"/>
                      <a:pt x="3308" y="19293"/>
                    </a:cubicBezTo>
                    <a:cubicBezTo>
                      <a:pt x="5476" y="21232"/>
                      <a:pt x="8099" y="22258"/>
                      <a:pt x="11065" y="22258"/>
                    </a:cubicBezTo>
                    <a:cubicBezTo>
                      <a:pt x="14031" y="22258"/>
                      <a:pt x="16427" y="21232"/>
                      <a:pt x="18594" y="19293"/>
                    </a:cubicBezTo>
                    <a:cubicBezTo>
                      <a:pt x="20761" y="17353"/>
                      <a:pt x="21788" y="14502"/>
                      <a:pt x="21788" y="11080"/>
                    </a:cubicBezTo>
                    <a:cubicBezTo>
                      <a:pt x="21788" y="7999"/>
                      <a:pt x="20761" y="5262"/>
                      <a:pt x="18708" y="3208"/>
                    </a:cubicBezTo>
                    <a:cubicBezTo>
                      <a:pt x="14488" y="-1126"/>
                      <a:pt x="7415" y="-1012"/>
                      <a:pt x="3194" y="3208"/>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grpSp>
      </p:grpSp>
      <p:cxnSp>
        <p:nvCxnSpPr>
          <p:cNvPr id="44" name="Straight Connector 43">
            <a:extLst>
              <a:ext uri="{FF2B5EF4-FFF2-40B4-BE49-F238E27FC236}">
                <a16:creationId xmlns:a16="http://schemas.microsoft.com/office/drawing/2014/main" id="{D6C02E0D-000B-D79A-1984-AA838C27494D}"/>
              </a:ext>
              <a:ext uri="{C183D7F6-B498-43B3-948B-1728B52AA6E4}">
                <adec:decorative xmlns:adec="http://schemas.microsoft.com/office/drawing/2017/decorative" val="1"/>
              </a:ext>
            </a:extLst>
          </p:cNvPr>
          <p:cNvCxnSpPr>
            <a:cxnSpLocks/>
            <a:stCxn id="131" idx="4"/>
          </p:cNvCxnSpPr>
          <p:nvPr/>
        </p:nvCxnSpPr>
        <p:spPr>
          <a:xfrm>
            <a:off x="6846781"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45" name="Graphic 10">
            <a:extLst>
              <a:ext uri="{FF2B5EF4-FFF2-40B4-BE49-F238E27FC236}">
                <a16:creationId xmlns:a16="http://schemas.microsoft.com/office/drawing/2014/main" id="{9FD18184-4516-08C4-2D73-4D6D3DD352FC}"/>
              </a:ext>
              <a:ext uri="{C183D7F6-B498-43B3-948B-1728B52AA6E4}">
                <adec:decorative xmlns:adec="http://schemas.microsoft.com/office/drawing/2017/decorative" val="1"/>
              </a:ext>
            </a:extLst>
          </p:cNvPr>
          <p:cNvGrpSpPr/>
          <p:nvPr/>
        </p:nvGrpSpPr>
        <p:grpSpPr>
          <a:xfrm>
            <a:off x="4003080" y="2641523"/>
            <a:ext cx="217545" cy="245261"/>
            <a:chOff x="4788250" y="4735731"/>
            <a:chExt cx="266018" cy="299898"/>
          </a:xfrm>
          <a:solidFill>
            <a:schemeClr val="accent5"/>
          </a:solidFill>
        </p:grpSpPr>
        <p:sp>
          <p:nvSpPr>
            <p:cNvPr id="144" name="Freeform: Shape 143">
              <a:extLst>
                <a:ext uri="{FF2B5EF4-FFF2-40B4-BE49-F238E27FC236}">
                  <a16:creationId xmlns:a16="http://schemas.microsoft.com/office/drawing/2014/main" id="{6B2FDBAB-FE8A-99DC-11D2-F528790CFB06}"/>
                </a:ext>
              </a:extLst>
            </p:cNvPr>
            <p:cNvSpPr/>
            <p:nvPr/>
          </p:nvSpPr>
          <p:spPr>
            <a:xfrm>
              <a:off x="4864679" y="4838967"/>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3650"/>
                    <a:pt x="0" y="5476"/>
                  </a:cubicBezTo>
                  <a:cubicBezTo>
                    <a:pt x="0" y="9126"/>
                    <a:pt x="1711" y="10951"/>
                    <a:pt x="5247" y="10951"/>
                  </a:cubicBezTo>
                  <a:lnTo>
                    <a:pt x="59774" y="10951"/>
                  </a:lnTo>
                  <a:cubicBezTo>
                    <a:pt x="63310" y="10951"/>
                    <a:pt x="65021" y="9126"/>
                    <a:pt x="65021" y="5476"/>
                  </a:cubicBezTo>
                  <a:cubicBezTo>
                    <a:pt x="65021" y="3650"/>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5" name="Freeform: Shape 144">
              <a:extLst>
                <a:ext uri="{FF2B5EF4-FFF2-40B4-BE49-F238E27FC236}">
                  <a16:creationId xmlns:a16="http://schemas.microsoft.com/office/drawing/2014/main" id="{C83B9DD4-63E4-60E8-9F1C-B8DB38287A01}"/>
                </a:ext>
              </a:extLst>
            </p:cNvPr>
            <p:cNvSpPr/>
            <p:nvPr/>
          </p:nvSpPr>
          <p:spPr>
            <a:xfrm>
              <a:off x="4864679" y="4873531"/>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1825"/>
                    <a:pt x="0" y="5476"/>
                  </a:cubicBezTo>
                  <a:cubicBezTo>
                    <a:pt x="0" y="7301"/>
                    <a:pt x="1711" y="10951"/>
                    <a:pt x="5247" y="10951"/>
                  </a:cubicBezTo>
                  <a:lnTo>
                    <a:pt x="59774" y="10951"/>
                  </a:lnTo>
                  <a:cubicBezTo>
                    <a:pt x="63310" y="10951"/>
                    <a:pt x="65021" y="7301"/>
                    <a:pt x="65021" y="5476"/>
                  </a:cubicBezTo>
                  <a:cubicBezTo>
                    <a:pt x="65021" y="1825"/>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6" name="Freeform: Shape 145">
              <a:extLst>
                <a:ext uri="{FF2B5EF4-FFF2-40B4-BE49-F238E27FC236}">
                  <a16:creationId xmlns:a16="http://schemas.microsoft.com/office/drawing/2014/main" id="{638235E7-EA75-355D-909B-5FE905343144}"/>
                </a:ext>
              </a:extLst>
            </p:cNvPr>
            <p:cNvSpPr/>
            <p:nvPr/>
          </p:nvSpPr>
          <p:spPr>
            <a:xfrm>
              <a:off x="4864679" y="4905016"/>
              <a:ext cx="65021" cy="10038"/>
            </a:xfrm>
            <a:custGeom>
              <a:avLst/>
              <a:gdLst>
                <a:gd name="connsiteX0" fmla="*/ 59774 w 65021"/>
                <a:gd name="connsiteY0" fmla="*/ 0 h 10038"/>
                <a:gd name="connsiteX1" fmla="*/ 5247 w 65021"/>
                <a:gd name="connsiteY1" fmla="*/ 0 h 10038"/>
                <a:gd name="connsiteX2" fmla="*/ 0 w 65021"/>
                <a:gd name="connsiteY2" fmla="*/ 5019 h 10038"/>
                <a:gd name="connsiteX3" fmla="*/ 5247 w 65021"/>
                <a:gd name="connsiteY3" fmla="*/ 10038 h 10038"/>
                <a:gd name="connsiteX4" fmla="*/ 59774 w 65021"/>
                <a:gd name="connsiteY4" fmla="*/ 10038 h 10038"/>
                <a:gd name="connsiteX5" fmla="*/ 65021 w 65021"/>
                <a:gd name="connsiteY5" fmla="*/ 5019 h 10038"/>
                <a:gd name="connsiteX6" fmla="*/ 59774 w 65021"/>
                <a:gd name="connsiteY6" fmla="*/ 0 h 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038">
                  <a:moveTo>
                    <a:pt x="59774" y="0"/>
                  </a:moveTo>
                  <a:lnTo>
                    <a:pt x="5247" y="0"/>
                  </a:lnTo>
                  <a:cubicBezTo>
                    <a:pt x="1711" y="0"/>
                    <a:pt x="0" y="3308"/>
                    <a:pt x="0" y="5019"/>
                  </a:cubicBezTo>
                  <a:cubicBezTo>
                    <a:pt x="0" y="8327"/>
                    <a:pt x="1711" y="10038"/>
                    <a:pt x="5247" y="10038"/>
                  </a:cubicBezTo>
                  <a:lnTo>
                    <a:pt x="59774" y="10038"/>
                  </a:lnTo>
                  <a:cubicBezTo>
                    <a:pt x="63310" y="10038"/>
                    <a:pt x="65021" y="8327"/>
                    <a:pt x="65021" y="5019"/>
                  </a:cubicBezTo>
                  <a:cubicBezTo>
                    <a:pt x="65021" y="3308"/>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7" name="Freeform: Shape 146">
              <a:extLst>
                <a:ext uri="{FF2B5EF4-FFF2-40B4-BE49-F238E27FC236}">
                  <a16:creationId xmlns:a16="http://schemas.microsoft.com/office/drawing/2014/main" id="{3BF5C18B-4C12-636D-76CC-E9A60CB62EC6}"/>
                </a:ext>
              </a:extLst>
            </p:cNvPr>
            <p:cNvSpPr/>
            <p:nvPr/>
          </p:nvSpPr>
          <p:spPr>
            <a:xfrm>
              <a:off x="4829659" y="4835659"/>
              <a:ext cx="19164" cy="19164"/>
            </a:xfrm>
            <a:custGeom>
              <a:avLst/>
              <a:gdLst>
                <a:gd name="connsiteX0" fmla="*/ 9582 w 19164"/>
                <a:gd name="connsiteY0" fmla="*/ 0 h 19164"/>
                <a:gd name="connsiteX1" fmla="*/ 0 w 19164"/>
                <a:gd name="connsiteY1" fmla="*/ 9582 h 19164"/>
                <a:gd name="connsiteX2" fmla="*/ 9582 w 19164"/>
                <a:gd name="connsiteY2" fmla="*/ 19165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5"/>
                    <a:pt x="9582" y="19165"/>
                  </a:cubicBezTo>
                  <a:cubicBezTo>
                    <a:pt x="14829" y="19165"/>
                    <a:pt x="19164" y="14830"/>
                    <a:pt x="19164" y="9582"/>
                  </a:cubicBezTo>
                  <a:cubicBezTo>
                    <a:pt x="19164" y="4335"/>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8" name="Freeform: Shape 147">
              <a:extLst>
                <a:ext uri="{FF2B5EF4-FFF2-40B4-BE49-F238E27FC236}">
                  <a16:creationId xmlns:a16="http://schemas.microsoft.com/office/drawing/2014/main" id="{E31C7767-C862-F870-5603-5BF38DDA3BE4}"/>
                </a:ext>
              </a:extLst>
            </p:cNvPr>
            <p:cNvSpPr/>
            <p:nvPr/>
          </p:nvSpPr>
          <p:spPr>
            <a:xfrm>
              <a:off x="4829659" y="4868512"/>
              <a:ext cx="19164" cy="19164"/>
            </a:xfrm>
            <a:custGeom>
              <a:avLst/>
              <a:gdLst>
                <a:gd name="connsiteX0" fmla="*/ 9582 w 19164"/>
                <a:gd name="connsiteY0" fmla="*/ 0 h 19164"/>
                <a:gd name="connsiteX1" fmla="*/ 0 w 19164"/>
                <a:gd name="connsiteY1" fmla="*/ 9582 h 19164"/>
                <a:gd name="connsiteX2" fmla="*/ 9582 w 19164"/>
                <a:gd name="connsiteY2" fmla="*/ 19164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4"/>
                    <a:pt x="9582" y="19164"/>
                  </a:cubicBezTo>
                  <a:cubicBezTo>
                    <a:pt x="14829" y="19164"/>
                    <a:pt x="19164" y="14830"/>
                    <a:pt x="19164" y="9582"/>
                  </a:cubicBezTo>
                  <a:cubicBezTo>
                    <a:pt x="19164" y="4335"/>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9" name="Freeform: Shape 148">
              <a:extLst>
                <a:ext uri="{FF2B5EF4-FFF2-40B4-BE49-F238E27FC236}">
                  <a16:creationId xmlns:a16="http://schemas.microsoft.com/office/drawing/2014/main" id="{42914806-F7E1-DDEC-A8DD-2C59FF08D12F}"/>
                </a:ext>
              </a:extLst>
            </p:cNvPr>
            <p:cNvSpPr/>
            <p:nvPr/>
          </p:nvSpPr>
          <p:spPr>
            <a:xfrm>
              <a:off x="4829659" y="4901707"/>
              <a:ext cx="19164" cy="18365"/>
            </a:xfrm>
            <a:custGeom>
              <a:avLst/>
              <a:gdLst>
                <a:gd name="connsiteX0" fmla="*/ 9582 w 19164"/>
                <a:gd name="connsiteY0" fmla="*/ 0 h 18365"/>
                <a:gd name="connsiteX1" fmla="*/ 0 w 19164"/>
                <a:gd name="connsiteY1" fmla="*/ 9240 h 18365"/>
                <a:gd name="connsiteX2" fmla="*/ 9582 w 19164"/>
                <a:gd name="connsiteY2" fmla="*/ 18366 h 18365"/>
                <a:gd name="connsiteX3" fmla="*/ 19164 w 19164"/>
                <a:gd name="connsiteY3" fmla="*/ 9240 h 18365"/>
                <a:gd name="connsiteX4" fmla="*/ 9582 w 19164"/>
                <a:gd name="connsiteY4" fmla="*/ 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8365">
                  <a:moveTo>
                    <a:pt x="9582" y="0"/>
                  </a:moveTo>
                  <a:cubicBezTo>
                    <a:pt x="4335" y="0"/>
                    <a:pt x="0" y="4106"/>
                    <a:pt x="0" y="9240"/>
                  </a:cubicBezTo>
                  <a:cubicBezTo>
                    <a:pt x="0" y="14373"/>
                    <a:pt x="4335" y="18366"/>
                    <a:pt x="9582" y="18366"/>
                  </a:cubicBezTo>
                  <a:cubicBezTo>
                    <a:pt x="14829" y="18366"/>
                    <a:pt x="19164" y="14259"/>
                    <a:pt x="19164" y="9240"/>
                  </a:cubicBezTo>
                  <a:cubicBezTo>
                    <a:pt x="19164" y="4221"/>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0" name="Freeform: Shape 149">
              <a:extLst>
                <a:ext uri="{FF2B5EF4-FFF2-40B4-BE49-F238E27FC236}">
                  <a16:creationId xmlns:a16="http://schemas.microsoft.com/office/drawing/2014/main" id="{FF9D0204-8EF4-F8A5-2017-F454181797BF}"/>
                </a:ext>
              </a:extLst>
            </p:cNvPr>
            <p:cNvSpPr/>
            <p:nvPr/>
          </p:nvSpPr>
          <p:spPr>
            <a:xfrm>
              <a:off x="4788250" y="4735731"/>
              <a:ext cx="192783" cy="265904"/>
            </a:xfrm>
            <a:custGeom>
              <a:avLst/>
              <a:gdLst>
                <a:gd name="connsiteX0" fmla="*/ 127420 w 192783"/>
                <a:gd name="connsiteY0" fmla="*/ 255295 h 265904"/>
                <a:gd name="connsiteX1" fmla="*/ 26465 w 192783"/>
                <a:gd name="connsiteY1" fmla="*/ 255295 h 265904"/>
                <a:gd name="connsiteX2" fmla="*/ 12434 w 192783"/>
                <a:gd name="connsiteY2" fmla="*/ 241265 h 265904"/>
                <a:gd name="connsiteX3" fmla="*/ 12434 w 192783"/>
                <a:gd name="connsiteY3" fmla="*/ 66732 h 265904"/>
                <a:gd name="connsiteX4" fmla="*/ 26465 w 192783"/>
                <a:gd name="connsiteY4" fmla="*/ 50877 h 265904"/>
                <a:gd name="connsiteX5" fmla="*/ 43690 w 192783"/>
                <a:gd name="connsiteY5" fmla="*/ 50877 h 265904"/>
                <a:gd name="connsiteX6" fmla="*/ 43690 w 192783"/>
                <a:gd name="connsiteY6" fmla="*/ 52588 h 265904"/>
                <a:gd name="connsiteX7" fmla="*/ 56010 w 192783"/>
                <a:gd name="connsiteY7" fmla="*/ 64908 h 265904"/>
                <a:gd name="connsiteX8" fmla="*/ 136888 w 192783"/>
                <a:gd name="connsiteY8" fmla="*/ 64908 h 265904"/>
                <a:gd name="connsiteX9" fmla="*/ 149207 w 192783"/>
                <a:gd name="connsiteY9" fmla="*/ 52588 h 265904"/>
                <a:gd name="connsiteX10" fmla="*/ 149207 w 192783"/>
                <a:gd name="connsiteY10" fmla="*/ 50877 h 265904"/>
                <a:gd name="connsiteX11" fmla="*/ 166433 w 192783"/>
                <a:gd name="connsiteY11" fmla="*/ 50877 h 265904"/>
                <a:gd name="connsiteX12" fmla="*/ 180464 w 192783"/>
                <a:gd name="connsiteY12" fmla="*/ 66732 h 265904"/>
                <a:gd name="connsiteX13" fmla="*/ 180464 w 192783"/>
                <a:gd name="connsiteY13" fmla="*/ 159474 h 265904"/>
                <a:gd name="connsiteX14" fmla="*/ 192783 w 192783"/>
                <a:gd name="connsiteY14" fmla="*/ 156622 h 265904"/>
                <a:gd name="connsiteX15" fmla="*/ 192783 w 192783"/>
                <a:gd name="connsiteY15" fmla="*/ 66732 h 265904"/>
                <a:gd name="connsiteX16" fmla="*/ 166433 w 192783"/>
                <a:gd name="connsiteY16" fmla="*/ 40382 h 265904"/>
                <a:gd name="connsiteX17" fmla="*/ 149207 w 192783"/>
                <a:gd name="connsiteY17" fmla="*/ 40382 h 265904"/>
                <a:gd name="connsiteX18" fmla="*/ 149207 w 192783"/>
                <a:gd name="connsiteY18" fmla="*/ 26351 h 265904"/>
                <a:gd name="connsiteX19" fmla="*/ 136888 w 192783"/>
                <a:gd name="connsiteY19" fmla="*/ 14031 h 265904"/>
                <a:gd name="connsiteX20" fmla="*/ 108712 w 192783"/>
                <a:gd name="connsiteY20" fmla="*/ 14031 h 265904"/>
                <a:gd name="connsiteX21" fmla="*/ 108712 w 192783"/>
                <a:gd name="connsiteY21" fmla="*/ 12320 h 265904"/>
                <a:gd name="connsiteX22" fmla="*/ 96392 w 192783"/>
                <a:gd name="connsiteY22" fmla="*/ 0 h 265904"/>
                <a:gd name="connsiteX23" fmla="*/ 84072 w 192783"/>
                <a:gd name="connsiteY23" fmla="*/ 12320 h 265904"/>
                <a:gd name="connsiteX24" fmla="*/ 84072 w 192783"/>
                <a:gd name="connsiteY24" fmla="*/ 14031 h 265904"/>
                <a:gd name="connsiteX25" fmla="*/ 55896 w 192783"/>
                <a:gd name="connsiteY25" fmla="*/ 14031 h 265904"/>
                <a:gd name="connsiteX26" fmla="*/ 43576 w 192783"/>
                <a:gd name="connsiteY26" fmla="*/ 26351 h 265904"/>
                <a:gd name="connsiteX27" fmla="*/ 43576 w 192783"/>
                <a:gd name="connsiteY27" fmla="*/ 40382 h 265904"/>
                <a:gd name="connsiteX28" fmla="*/ 26351 w 192783"/>
                <a:gd name="connsiteY28" fmla="*/ 40382 h 265904"/>
                <a:gd name="connsiteX29" fmla="*/ 0 w 192783"/>
                <a:gd name="connsiteY29" fmla="*/ 66732 h 265904"/>
                <a:gd name="connsiteX30" fmla="*/ 0 w 192783"/>
                <a:gd name="connsiteY30" fmla="*/ 241265 h 265904"/>
                <a:gd name="connsiteX31" fmla="*/ 26351 w 192783"/>
                <a:gd name="connsiteY31" fmla="*/ 265904 h 265904"/>
                <a:gd name="connsiteX32" fmla="*/ 130385 w 192783"/>
                <a:gd name="connsiteY32" fmla="*/ 265904 h 265904"/>
                <a:gd name="connsiteX33" fmla="*/ 127306 w 192783"/>
                <a:gd name="connsiteY33" fmla="*/ 255295 h 265904"/>
                <a:gd name="connsiteX34" fmla="*/ 54185 w 192783"/>
                <a:gd name="connsiteY34" fmla="*/ 24526 h 265904"/>
                <a:gd name="connsiteX35" fmla="*/ 138599 w 192783"/>
                <a:gd name="connsiteY35" fmla="*/ 24526 h 265904"/>
                <a:gd name="connsiteX36" fmla="*/ 138599 w 192783"/>
                <a:gd name="connsiteY36" fmla="*/ 54413 h 265904"/>
                <a:gd name="connsiteX37" fmla="*/ 54185 w 192783"/>
                <a:gd name="connsiteY37" fmla="*/ 54413 h 265904"/>
                <a:gd name="connsiteX38" fmla="*/ 54185 w 192783"/>
                <a:gd name="connsiteY38" fmla="*/ 24526 h 26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783" h="265904">
                  <a:moveTo>
                    <a:pt x="127420" y="255295"/>
                  </a:moveTo>
                  <a:lnTo>
                    <a:pt x="26465" y="255295"/>
                  </a:lnTo>
                  <a:cubicBezTo>
                    <a:pt x="17681" y="255295"/>
                    <a:pt x="12434" y="248223"/>
                    <a:pt x="12434" y="241265"/>
                  </a:cubicBezTo>
                  <a:lnTo>
                    <a:pt x="12434" y="66732"/>
                  </a:lnTo>
                  <a:cubicBezTo>
                    <a:pt x="12434" y="57949"/>
                    <a:pt x="17681" y="50877"/>
                    <a:pt x="26465" y="50877"/>
                  </a:cubicBezTo>
                  <a:lnTo>
                    <a:pt x="43690" y="50877"/>
                  </a:lnTo>
                  <a:lnTo>
                    <a:pt x="43690" y="52588"/>
                  </a:lnTo>
                  <a:cubicBezTo>
                    <a:pt x="43690" y="59660"/>
                    <a:pt x="48937" y="64908"/>
                    <a:pt x="56010" y="64908"/>
                  </a:cubicBezTo>
                  <a:lnTo>
                    <a:pt x="136888" y="64908"/>
                  </a:lnTo>
                  <a:cubicBezTo>
                    <a:pt x="143960" y="64908"/>
                    <a:pt x="149207" y="59660"/>
                    <a:pt x="149207" y="52588"/>
                  </a:cubicBezTo>
                  <a:lnTo>
                    <a:pt x="149207" y="50877"/>
                  </a:lnTo>
                  <a:lnTo>
                    <a:pt x="166433" y="50877"/>
                  </a:lnTo>
                  <a:cubicBezTo>
                    <a:pt x="175216" y="50877"/>
                    <a:pt x="180464" y="57949"/>
                    <a:pt x="180464" y="66732"/>
                  </a:cubicBezTo>
                  <a:lnTo>
                    <a:pt x="180464" y="159474"/>
                  </a:lnTo>
                  <a:lnTo>
                    <a:pt x="192783" y="156622"/>
                  </a:lnTo>
                  <a:lnTo>
                    <a:pt x="192783" y="66732"/>
                  </a:lnTo>
                  <a:cubicBezTo>
                    <a:pt x="192783" y="52702"/>
                    <a:pt x="180464" y="40382"/>
                    <a:pt x="166433" y="40382"/>
                  </a:cubicBezTo>
                  <a:lnTo>
                    <a:pt x="149207" y="40382"/>
                  </a:lnTo>
                  <a:lnTo>
                    <a:pt x="149207" y="26351"/>
                  </a:lnTo>
                  <a:cubicBezTo>
                    <a:pt x="149207" y="19278"/>
                    <a:pt x="143960" y="14031"/>
                    <a:pt x="136888" y="14031"/>
                  </a:cubicBezTo>
                  <a:lnTo>
                    <a:pt x="108712" y="14031"/>
                  </a:lnTo>
                  <a:lnTo>
                    <a:pt x="108712" y="12320"/>
                  </a:lnTo>
                  <a:cubicBezTo>
                    <a:pt x="108712" y="5247"/>
                    <a:pt x="103464" y="0"/>
                    <a:pt x="96392" y="0"/>
                  </a:cubicBezTo>
                  <a:cubicBezTo>
                    <a:pt x="89319" y="0"/>
                    <a:pt x="84072" y="5247"/>
                    <a:pt x="84072" y="12320"/>
                  </a:cubicBezTo>
                  <a:lnTo>
                    <a:pt x="84072" y="14031"/>
                  </a:lnTo>
                  <a:lnTo>
                    <a:pt x="55896" y="14031"/>
                  </a:lnTo>
                  <a:cubicBezTo>
                    <a:pt x="48823" y="14031"/>
                    <a:pt x="43576" y="19278"/>
                    <a:pt x="43576" y="26351"/>
                  </a:cubicBezTo>
                  <a:lnTo>
                    <a:pt x="43576" y="40382"/>
                  </a:lnTo>
                  <a:lnTo>
                    <a:pt x="26351" y="40382"/>
                  </a:lnTo>
                  <a:cubicBezTo>
                    <a:pt x="12320" y="40382"/>
                    <a:pt x="0" y="52702"/>
                    <a:pt x="0" y="66732"/>
                  </a:cubicBezTo>
                  <a:lnTo>
                    <a:pt x="0" y="241265"/>
                  </a:lnTo>
                  <a:cubicBezTo>
                    <a:pt x="0" y="255295"/>
                    <a:pt x="12320" y="265904"/>
                    <a:pt x="26351" y="265904"/>
                  </a:cubicBezTo>
                  <a:lnTo>
                    <a:pt x="130385" y="265904"/>
                  </a:lnTo>
                  <a:lnTo>
                    <a:pt x="127306" y="255295"/>
                  </a:lnTo>
                  <a:close/>
                  <a:moveTo>
                    <a:pt x="54185" y="24526"/>
                  </a:moveTo>
                  <a:lnTo>
                    <a:pt x="138599" y="24526"/>
                  </a:lnTo>
                  <a:lnTo>
                    <a:pt x="138599" y="54413"/>
                  </a:lnTo>
                  <a:lnTo>
                    <a:pt x="54185" y="54413"/>
                  </a:lnTo>
                  <a:lnTo>
                    <a:pt x="54185" y="24526"/>
                  </a:ln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1" name="Freeform: Shape 150">
              <a:extLst>
                <a:ext uri="{FF2B5EF4-FFF2-40B4-BE49-F238E27FC236}">
                  <a16:creationId xmlns:a16="http://schemas.microsoft.com/office/drawing/2014/main" id="{1694A80E-4C1D-40C3-D4F6-7F97209D3DCF}"/>
                </a:ext>
              </a:extLst>
            </p:cNvPr>
            <p:cNvSpPr/>
            <p:nvPr/>
          </p:nvSpPr>
          <p:spPr>
            <a:xfrm>
              <a:off x="4921259" y="4902620"/>
              <a:ext cx="133009" cy="133009"/>
            </a:xfrm>
            <a:custGeom>
              <a:avLst/>
              <a:gdLst>
                <a:gd name="connsiteX0" fmla="*/ 129473 w 133009"/>
                <a:gd name="connsiteY0" fmla="*/ 45059 h 133009"/>
                <a:gd name="connsiteX1" fmla="*/ 126849 w 133009"/>
                <a:gd name="connsiteY1" fmla="*/ 42321 h 133009"/>
                <a:gd name="connsiteX2" fmla="*/ 122971 w 133009"/>
                <a:gd name="connsiteY2" fmla="*/ 42321 h 133009"/>
                <a:gd name="connsiteX3" fmla="*/ 120119 w 133009"/>
                <a:gd name="connsiteY3" fmla="*/ 48823 h 133009"/>
                <a:gd name="connsiteX4" fmla="*/ 122971 w 133009"/>
                <a:gd name="connsiteY4" fmla="*/ 66619 h 133009"/>
                <a:gd name="connsiteX5" fmla="*/ 66504 w 133009"/>
                <a:gd name="connsiteY5" fmla="*/ 123085 h 133009"/>
                <a:gd name="connsiteX6" fmla="*/ 10038 w 133009"/>
                <a:gd name="connsiteY6" fmla="*/ 66619 h 133009"/>
                <a:gd name="connsiteX7" fmla="*/ 66504 w 133009"/>
                <a:gd name="connsiteY7" fmla="*/ 10153 h 133009"/>
                <a:gd name="connsiteX8" fmla="*/ 105974 w 133009"/>
                <a:gd name="connsiteY8" fmla="*/ 26237 h 133009"/>
                <a:gd name="connsiteX9" fmla="*/ 109510 w 133009"/>
                <a:gd name="connsiteY9" fmla="*/ 27834 h 133009"/>
                <a:gd name="connsiteX10" fmla="*/ 109510 w 133009"/>
                <a:gd name="connsiteY10" fmla="*/ 27834 h 133009"/>
                <a:gd name="connsiteX11" fmla="*/ 113046 w 133009"/>
                <a:gd name="connsiteY11" fmla="*/ 26465 h 133009"/>
                <a:gd name="connsiteX12" fmla="*/ 114643 w 133009"/>
                <a:gd name="connsiteY12" fmla="*/ 22929 h 133009"/>
                <a:gd name="connsiteX13" fmla="*/ 113275 w 133009"/>
                <a:gd name="connsiteY13" fmla="*/ 19278 h 133009"/>
                <a:gd name="connsiteX14" fmla="*/ 66504 w 133009"/>
                <a:gd name="connsiteY14" fmla="*/ 0 h 133009"/>
                <a:gd name="connsiteX15" fmla="*/ 0 w 133009"/>
                <a:gd name="connsiteY15" fmla="*/ 66505 h 133009"/>
                <a:gd name="connsiteX16" fmla="*/ 66504 w 133009"/>
                <a:gd name="connsiteY16" fmla="*/ 133009 h 133009"/>
                <a:gd name="connsiteX17" fmla="*/ 133009 w 133009"/>
                <a:gd name="connsiteY17" fmla="*/ 66505 h 133009"/>
                <a:gd name="connsiteX18" fmla="*/ 129473 w 133009"/>
                <a:gd name="connsiteY18" fmla="*/ 45059 h 13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009" h="133009">
                  <a:moveTo>
                    <a:pt x="129473" y="45059"/>
                  </a:moveTo>
                  <a:cubicBezTo>
                    <a:pt x="129017" y="43804"/>
                    <a:pt x="127990" y="42777"/>
                    <a:pt x="126849" y="42321"/>
                  </a:cubicBezTo>
                  <a:cubicBezTo>
                    <a:pt x="125595" y="41751"/>
                    <a:pt x="124225" y="41751"/>
                    <a:pt x="122971" y="42321"/>
                  </a:cubicBezTo>
                  <a:cubicBezTo>
                    <a:pt x="120347" y="43348"/>
                    <a:pt x="119092" y="46314"/>
                    <a:pt x="120119" y="48823"/>
                  </a:cubicBezTo>
                  <a:cubicBezTo>
                    <a:pt x="122743" y="55440"/>
                    <a:pt x="122971" y="59432"/>
                    <a:pt x="122971" y="66619"/>
                  </a:cubicBezTo>
                  <a:cubicBezTo>
                    <a:pt x="122971" y="97761"/>
                    <a:pt x="97647" y="123085"/>
                    <a:pt x="66504" y="123085"/>
                  </a:cubicBezTo>
                  <a:cubicBezTo>
                    <a:pt x="35363" y="123085"/>
                    <a:pt x="10038" y="97761"/>
                    <a:pt x="10038" y="66619"/>
                  </a:cubicBezTo>
                  <a:cubicBezTo>
                    <a:pt x="10038" y="35477"/>
                    <a:pt x="35363" y="10153"/>
                    <a:pt x="66504" y="10153"/>
                  </a:cubicBezTo>
                  <a:cubicBezTo>
                    <a:pt x="82133" y="10153"/>
                    <a:pt x="95251" y="14830"/>
                    <a:pt x="105974" y="26237"/>
                  </a:cubicBezTo>
                  <a:cubicBezTo>
                    <a:pt x="106886" y="27264"/>
                    <a:pt x="108141" y="27834"/>
                    <a:pt x="109510" y="27834"/>
                  </a:cubicBezTo>
                  <a:lnTo>
                    <a:pt x="109510" y="27834"/>
                  </a:lnTo>
                  <a:cubicBezTo>
                    <a:pt x="110879" y="27834"/>
                    <a:pt x="112134" y="27378"/>
                    <a:pt x="113046" y="26465"/>
                  </a:cubicBezTo>
                  <a:cubicBezTo>
                    <a:pt x="114073" y="25553"/>
                    <a:pt x="114643" y="24298"/>
                    <a:pt x="114643" y="22929"/>
                  </a:cubicBezTo>
                  <a:cubicBezTo>
                    <a:pt x="114643" y="21560"/>
                    <a:pt x="114187" y="20305"/>
                    <a:pt x="113275" y="19278"/>
                  </a:cubicBezTo>
                  <a:cubicBezTo>
                    <a:pt x="100613" y="5818"/>
                    <a:pt x="84870" y="0"/>
                    <a:pt x="66504" y="0"/>
                  </a:cubicBezTo>
                  <a:cubicBezTo>
                    <a:pt x="29773" y="0"/>
                    <a:pt x="0" y="29887"/>
                    <a:pt x="0" y="66505"/>
                  </a:cubicBezTo>
                  <a:cubicBezTo>
                    <a:pt x="0" y="103122"/>
                    <a:pt x="29887" y="133009"/>
                    <a:pt x="66504" y="133009"/>
                  </a:cubicBezTo>
                  <a:cubicBezTo>
                    <a:pt x="103122" y="133009"/>
                    <a:pt x="133009" y="103122"/>
                    <a:pt x="133009" y="66505"/>
                  </a:cubicBezTo>
                  <a:cubicBezTo>
                    <a:pt x="133009" y="58064"/>
                    <a:pt x="132553" y="52816"/>
                    <a:pt x="129473" y="45059"/>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2" name="Freeform: Shape 151">
              <a:extLst>
                <a:ext uri="{FF2B5EF4-FFF2-40B4-BE49-F238E27FC236}">
                  <a16:creationId xmlns:a16="http://schemas.microsoft.com/office/drawing/2014/main" id="{CB9BB2AA-AA69-CF45-176E-A2AD30D51E84}"/>
                </a:ext>
              </a:extLst>
            </p:cNvPr>
            <p:cNvSpPr/>
            <p:nvPr/>
          </p:nvSpPr>
          <p:spPr>
            <a:xfrm>
              <a:off x="4953428" y="4923153"/>
              <a:ext cx="98516" cy="71295"/>
            </a:xfrm>
            <a:custGeom>
              <a:avLst/>
              <a:gdLst>
                <a:gd name="connsiteX0" fmla="*/ 8555 w 98516"/>
                <a:gd name="connsiteY0" fmla="*/ 33766 h 71295"/>
                <a:gd name="connsiteX1" fmla="*/ 1483 w 98516"/>
                <a:gd name="connsiteY1" fmla="*/ 33766 h 71295"/>
                <a:gd name="connsiteX2" fmla="*/ 0 w 98516"/>
                <a:gd name="connsiteY2" fmla="*/ 37302 h 71295"/>
                <a:gd name="connsiteX3" fmla="*/ 1483 w 98516"/>
                <a:gd name="connsiteY3" fmla="*/ 40838 h 71295"/>
                <a:gd name="connsiteX4" fmla="*/ 30686 w 98516"/>
                <a:gd name="connsiteY4" fmla="*/ 69813 h 71295"/>
                <a:gd name="connsiteX5" fmla="*/ 34336 w 98516"/>
                <a:gd name="connsiteY5" fmla="*/ 71296 h 71295"/>
                <a:gd name="connsiteX6" fmla="*/ 37872 w 98516"/>
                <a:gd name="connsiteY6" fmla="*/ 69813 h 71295"/>
                <a:gd name="connsiteX7" fmla="*/ 97076 w 98516"/>
                <a:gd name="connsiteY7" fmla="*/ 8555 h 71295"/>
                <a:gd name="connsiteX8" fmla="*/ 96962 w 98516"/>
                <a:gd name="connsiteY8" fmla="*/ 1483 h 71295"/>
                <a:gd name="connsiteX9" fmla="*/ 93426 w 98516"/>
                <a:gd name="connsiteY9" fmla="*/ 0 h 71295"/>
                <a:gd name="connsiteX10" fmla="*/ 89890 w 98516"/>
                <a:gd name="connsiteY10" fmla="*/ 1483 h 71295"/>
                <a:gd name="connsiteX11" fmla="*/ 34222 w 98516"/>
                <a:gd name="connsiteY11" fmla="*/ 59090 h 71295"/>
                <a:gd name="connsiteX12" fmla="*/ 8555 w 98516"/>
                <a:gd name="connsiteY12" fmla="*/ 33766 h 7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516" h="71295">
                  <a:moveTo>
                    <a:pt x="8555" y="33766"/>
                  </a:moveTo>
                  <a:cubicBezTo>
                    <a:pt x="6616" y="31826"/>
                    <a:pt x="3422" y="31826"/>
                    <a:pt x="1483" y="33766"/>
                  </a:cubicBezTo>
                  <a:cubicBezTo>
                    <a:pt x="570" y="34678"/>
                    <a:pt x="0" y="35933"/>
                    <a:pt x="0" y="37302"/>
                  </a:cubicBezTo>
                  <a:cubicBezTo>
                    <a:pt x="0" y="38671"/>
                    <a:pt x="570" y="39926"/>
                    <a:pt x="1483" y="40838"/>
                  </a:cubicBezTo>
                  <a:lnTo>
                    <a:pt x="30686" y="69813"/>
                  </a:lnTo>
                  <a:cubicBezTo>
                    <a:pt x="31598" y="70725"/>
                    <a:pt x="32853" y="71296"/>
                    <a:pt x="34336" y="71296"/>
                  </a:cubicBezTo>
                  <a:cubicBezTo>
                    <a:pt x="35705" y="71296"/>
                    <a:pt x="36960" y="70725"/>
                    <a:pt x="37872" y="69813"/>
                  </a:cubicBezTo>
                  <a:lnTo>
                    <a:pt x="97076" y="8555"/>
                  </a:lnTo>
                  <a:cubicBezTo>
                    <a:pt x="99015" y="6502"/>
                    <a:pt x="99015" y="3308"/>
                    <a:pt x="96962" y="1483"/>
                  </a:cubicBezTo>
                  <a:cubicBezTo>
                    <a:pt x="95821" y="342"/>
                    <a:pt x="94224" y="114"/>
                    <a:pt x="93426" y="0"/>
                  </a:cubicBezTo>
                  <a:cubicBezTo>
                    <a:pt x="92057" y="0"/>
                    <a:pt x="90802" y="570"/>
                    <a:pt x="89890" y="1483"/>
                  </a:cubicBezTo>
                  <a:lnTo>
                    <a:pt x="34222" y="59090"/>
                  </a:lnTo>
                  <a:lnTo>
                    <a:pt x="8555" y="33766"/>
                  </a:lnTo>
                  <a:close/>
                </a:path>
              </a:pathLst>
            </a:custGeom>
            <a:grpFill/>
            <a:ln w="11403" cap="flat">
              <a:noFill/>
              <a:prstDash val="solid"/>
              <a:miter/>
            </a:ln>
          </p:spPr>
          <p:txBody>
            <a:bodyPr rtlCol="0" anchor="ctr"/>
            <a:lstStyle/>
            <a:p>
              <a:pPr defTabSz="466522"/>
              <a:endParaRPr lang="en-AU" sz="1000">
                <a:solidFill>
                  <a:prstClr val="black"/>
                </a:solidFill>
              </a:endParaRPr>
            </a:p>
          </p:txBody>
        </p:sp>
      </p:grpSp>
      <p:cxnSp>
        <p:nvCxnSpPr>
          <p:cNvPr id="47" name="Straight Connector 46">
            <a:extLst>
              <a:ext uri="{FF2B5EF4-FFF2-40B4-BE49-F238E27FC236}">
                <a16:creationId xmlns:a16="http://schemas.microsoft.com/office/drawing/2014/main" id="{33AE302D-97FB-D2AC-2C01-99CBDA68A78B}"/>
              </a:ext>
              <a:ext uri="{C183D7F6-B498-43B3-948B-1728B52AA6E4}">
                <adec:decorative xmlns:adec="http://schemas.microsoft.com/office/drawing/2017/decorative" val="1"/>
              </a:ext>
            </a:extLst>
          </p:cNvPr>
          <p:cNvCxnSpPr>
            <a:cxnSpLocks/>
            <a:stCxn id="132" idx="4"/>
          </p:cNvCxnSpPr>
          <p:nvPr/>
        </p:nvCxnSpPr>
        <p:spPr>
          <a:xfrm>
            <a:off x="8087256"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2DEBEB8E-55A5-FF8A-57ED-E18212D29FE6}"/>
              </a:ext>
            </a:extLst>
          </p:cNvPr>
          <p:cNvSpPr txBox="1"/>
          <p:nvPr/>
        </p:nvSpPr>
        <p:spPr>
          <a:xfrm>
            <a:off x="9319107" y="1640640"/>
            <a:ext cx="1147012" cy="552515"/>
          </a:xfrm>
          <a:prstGeom prst="rect">
            <a:avLst/>
          </a:prstGeom>
          <a:solidFill>
            <a:schemeClr val="accent6"/>
          </a:solidFill>
        </p:spPr>
        <p:txBody>
          <a:bodyPr wrap="square">
            <a:noAutofit/>
          </a:bodyPr>
          <a:lstStyle/>
          <a:p>
            <a:pPr algn="ctr"/>
            <a:r>
              <a:rPr lang="en-AU" sz="1000" dirty="0">
                <a:solidFill>
                  <a:schemeClr val="bg1"/>
                </a:solidFill>
              </a:rPr>
              <a:t>Council Issues a Decision</a:t>
            </a:r>
          </a:p>
        </p:txBody>
      </p:sp>
      <p:sp>
        <p:nvSpPr>
          <p:cNvPr id="48" name="Rectangle 47">
            <a:extLst>
              <a:ext uri="{FF2B5EF4-FFF2-40B4-BE49-F238E27FC236}">
                <a16:creationId xmlns:a16="http://schemas.microsoft.com/office/drawing/2014/main" id="{8666B286-52AB-9C13-8479-D5E3386D77D7}"/>
              </a:ext>
            </a:extLst>
          </p:cNvPr>
          <p:cNvSpPr/>
          <p:nvPr/>
        </p:nvSpPr>
        <p:spPr>
          <a:xfrm>
            <a:off x="9439661" y="2873705"/>
            <a:ext cx="1026457"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300"/>
              </a:spcAft>
            </a:pPr>
            <a:r>
              <a:rPr lang="en-AU" sz="1000" b="1" dirty="0">
                <a:solidFill>
                  <a:schemeClr val="accent6"/>
                </a:solidFill>
              </a:rPr>
              <a:t>Day 21-30 </a:t>
            </a:r>
            <a:r>
              <a:rPr lang="en-AU" sz="1000" b="1" dirty="0">
                <a:solidFill>
                  <a:srgbClr val="017D7D"/>
                </a:solidFill>
              </a:rPr>
              <a:t>Decision issued</a:t>
            </a:r>
          </a:p>
          <a:p>
            <a:pPr defTabSz="466522">
              <a:spcAft>
                <a:spcPts val="600"/>
              </a:spcAft>
            </a:pPr>
            <a:r>
              <a:rPr lang="en-AU" sz="1000" dirty="0">
                <a:solidFill>
                  <a:schemeClr val="accent6"/>
                </a:solidFill>
                <a:cs typeface="Segoe UI Semilight"/>
              </a:rPr>
              <a:t>Applicant receives the decision and endorsed plans </a:t>
            </a:r>
            <a:br>
              <a:rPr lang="en-AU" sz="1000" dirty="0">
                <a:solidFill>
                  <a:schemeClr val="accent6"/>
                </a:solidFill>
                <a:cs typeface="Segoe UI Semilight"/>
              </a:rPr>
            </a:br>
            <a:r>
              <a:rPr lang="en-AU" sz="1000" dirty="0">
                <a:solidFill>
                  <a:schemeClr val="accent6"/>
                </a:solidFill>
                <a:cs typeface="Segoe UI Semilight"/>
              </a:rPr>
              <a:t>(if approved).</a:t>
            </a:r>
          </a:p>
          <a:p>
            <a:pPr defTabSz="466522">
              <a:spcAft>
                <a:spcPts val="600"/>
              </a:spcAft>
            </a:pPr>
            <a:r>
              <a:rPr lang="en-AU" sz="1000" dirty="0">
                <a:solidFill>
                  <a:schemeClr val="accent6"/>
                </a:solidFill>
                <a:cs typeface="Segoe UI Semilight"/>
              </a:rPr>
              <a:t>Council issues a decision on the amendment application. If the application is approved, endorsed plans showing the approved changes should be issued concurrently.</a:t>
            </a:r>
          </a:p>
        </p:txBody>
      </p:sp>
      <p:sp>
        <p:nvSpPr>
          <p:cNvPr id="49" name="Oval 48">
            <a:extLst>
              <a:ext uri="{FF2B5EF4-FFF2-40B4-BE49-F238E27FC236}">
                <a16:creationId xmlns:a16="http://schemas.microsoft.com/office/drawing/2014/main" id="{9409C9E9-5872-3233-109B-49FF9CF37798}"/>
              </a:ext>
              <a:ext uri="{C183D7F6-B498-43B3-948B-1728B52AA6E4}">
                <adec:decorative xmlns:adec="http://schemas.microsoft.com/office/drawing/2017/decorative" val="1"/>
              </a:ext>
            </a:extLst>
          </p:cNvPr>
          <p:cNvSpPr/>
          <p:nvPr/>
        </p:nvSpPr>
        <p:spPr>
          <a:xfrm>
            <a:off x="9212099"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accent6"/>
                </a:solidFill>
              </a:rPr>
              <a:t>6</a:t>
            </a:r>
          </a:p>
        </p:txBody>
      </p:sp>
      <p:cxnSp>
        <p:nvCxnSpPr>
          <p:cNvPr id="50" name="Straight Connector 49">
            <a:extLst>
              <a:ext uri="{FF2B5EF4-FFF2-40B4-BE49-F238E27FC236}">
                <a16:creationId xmlns:a16="http://schemas.microsoft.com/office/drawing/2014/main" id="{9247E63A-E00D-5FA5-7609-4EBC73082D0F}"/>
              </a:ext>
              <a:ext uri="{C183D7F6-B498-43B3-948B-1728B52AA6E4}">
                <adec:decorative xmlns:adec="http://schemas.microsoft.com/office/drawing/2017/decorative" val="1"/>
              </a:ext>
            </a:extLst>
          </p:cNvPr>
          <p:cNvCxnSpPr>
            <a:cxnSpLocks/>
            <a:stCxn id="49" idx="4"/>
          </p:cNvCxnSpPr>
          <p:nvPr/>
        </p:nvCxnSpPr>
        <p:spPr>
          <a:xfrm>
            <a:off x="9320748" y="2481262"/>
            <a:ext cx="0"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51" name="Graphic 10">
            <a:extLst>
              <a:ext uri="{FF2B5EF4-FFF2-40B4-BE49-F238E27FC236}">
                <a16:creationId xmlns:a16="http://schemas.microsoft.com/office/drawing/2014/main" id="{1B059B03-A2B7-1568-B815-DAC0C3804C30}"/>
              </a:ext>
              <a:ext uri="{C183D7F6-B498-43B3-948B-1728B52AA6E4}">
                <adec:decorative xmlns:adec="http://schemas.microsoft.com/office/drawing/2017/decorative" val="1"/>
              </a:ext>
            </a:extLst>
          </p:cNvPr>
          <p:cNvGrpSpPr/>
          <p:nvPr/>
        </p:nvGrpSpPr>
        <p:grpSpPr>
          <a:xfrm>
            <a:off x="9450273" y="2651633"/>
            <a:ext cx="210548" cy="249944"/>
            <a:chOff x="2249667" y="6608812"/>
            <a:chExt cx="260315" cy="309023"/>
          </a:xfrm>
          <a:solidFill>
            <a:schemeClr val="accent5"/>
          </a:solidFill>
        </p:grpSpPr>
        <p:sp>
          <p:nvSpPr>
            <p:cNvPr id="141" name="Freeform: Shape 140">
              <a:extLst>
                <a:ext uri="{FF2B5EF4-FFF2-40B4-BE49-F238E27FC236}">
                  <a16:creationId xmlns:a16="http://schemas.microsoft.com/office/drawing/2014/main" id="{E2FBE0E6-55C4-6EBE-BC30-96C08BE55BC5}"/>
                </a:ext>
              </a:extLst>
            </p:cNvPr>
            <p:cNvSpPr/>
            <p:nvPr/>
          </p:nvSpPr>
          <p:spPr>
            <a:xfrm>
              <a:off x="2389065" y="6796918"/>
              <a:ext cx="120917" cy="120917"/>
            </a:xfrm>
            <a:custGeom>
              <a:avLst/>
              <a:gdLst>
                <a:gd name="connsiteX0" fmla="*/ 117723 w 120917"/>
                <a:gd name="connsiteY0" fmla="*/ 40838 h 120917"/>
                <a:gd name="connsiteX1" fmla="*/ 115328 w 120917"/>
                <a:gd name="connsiteY1" fmla="*/ 38328 h 120917"/>
                <a:gd name="connsiteX2" fmla="*/ 111792 w 120917"/>
                <a:gd name="connsiteY2" fmla="*/ 38328 h 120917"/>
                <a:gd name="connsiteX3" fmla="*/ 109168 w 120917"/>
                <a:gd name="connsiteY3" fmla="*/ 44260 h 120917"/>
                <a:gd name="connsiteX4" fmla="*/ 111792 w 120917"/>
                <a:gd name="connsiteY4" fmla="*/ 60459 h 120917"/>
                <a:gd name="connsiteX5" fmla="*/ 60459 w 120917"/>
                <a:gd name="connsiteY5" fmla="*/ 111792 h 120917"/>
                <a:gd name="connsiteX6" fmla="*/ 9126 w 120917"/>
                <a:gd name="connsiteY6" fmla="*/ 60459 h 120917"/>
                <a:gd name="connsiteX7" fmla="*/ 60459 w 120917"/>
                <a:gd name="connsiteY7" fmla="*/ 9126 h 120917"/>
                <a:gd name="connsiteX8" fmla="*/ 96392 w 120917"/>
                <a:gd name="connsiteY8" fmla="*/ 23727 h 120917"/>
                <a:gd name="connsiteX9" fmla="*/ 99586 w 120917"/>
                <a:gd name="connsiteY9" fmla="*/ 25210 h 120917"/>
                <a:gd name="connsiteX10" fmla="*/ 99586 w 120917"/>
                <a:gd name="connsiteY10" fmla="*/ 25210 h 120917"/>
                <a:gd name="connsiteX11" fmla="*/ 102780 w 120917"/>
                <a:gd name="connsiteY11" fmla="*/ 23955 h 120917"/>
                <a:gd name="connsiteX12" fmla="*/ 104263 w 120917"/>
                <a:gd name="connsiteY12" fmla="*/ 20761 h 120917"/>
                <a:gd name="connsiteX13" fmla="*/ 103008 w 120917"/>
                <a:gd name="connsiteY13" fmla="*/ 17453 h 120917"/>
                <a:gd name="connsiteX14" fmla="*/ 60459 w 120917"/>
                <a:gd name="connsiteY14" fmla="*/ 0 h 120917"/>
                <a:gd name="connsiteX15" fmla="*/ 0 w 120917"/>
                <a:gd name="connsiteY15" fmla="*/ 60459 h 120917"/>
                <a:gd name="connsiteX16" fmla="*/ 60459 w 120917"/>
                <a:gd name="connsiteY16" fmla="*/ 120917 h 120917"/>
                <a:gd name="connsiteX17" fmla="*/ 120917 w 120917"/>
                <a:gd name="connsiteY17" fmla="*/ 60459 h 120917"/>
                <a:gd name="connsiteX18" fmla="*/ 117723 w 120917"/>
                <a:gd name="connsiteY18" fmla="*/ 40952 h 12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917" h="120917">
                  <a:moveTo>
                    <a:pt x="117723" y="40838"/>
                  </a:moveTo>
                  <a:cubicBezTo>
                    <a:pt x="117267" y="39697"/>
                    <a:pt x="116469" y="38784"/>
                    <a:pt x="115328" y="38328"/>
                  </a:cubicBezTo>
                  <a:cubicBezTo>
                    <a:pt x="114187" y="37872"/>
                    <a:pt x="112932" y="37872"/>
                    <a:pt x="111792" y="38328"/>
                  </a:cubicBezTo>
                  <a:cubicBezTo>
                    <a:pt x="109396" y="39241"/>
                    <a:pt x="108255" y="41979"/>
                    <a:pt x="109168" y="44260"/>
                  </a:cubicBezTo>
                  <a:cubicBezTo>
                    <a:pt x="111563" y="50192"/>
                    <a:pt x="111792" y="53956"/>
                    <a:pt x="111792" y="60459"/>
                  </a:cubicBezTo>
                  <a:cubicBezTo>
                    <a:pt x="111792" y="88749"/>
                    <a:pt x="88749" y="111792"/>
                    <a:pt x="60459" y="111792"/>
                  </a:cubicBezTo>
                  <a:cubicBezTo>
                    <a:pt x="32169" y="111792"/>
                    <a:pt x="9126" y="88749"/>
                    <a:pt x="9126" y="60459"/>
                  </a:cubicBezTo>
                  <a:cubicBezTo>
                    <a:pt x="9126" y="32169"/>
                    <a:pt x="32169" y="9126"/>
                    <a:pt x="60459" y="9126"/>
                  </a:cubicBezTo>
                  <a:cubicBezTo>
                    <a:pt x="74718" y="9126"/>
                    <a:pt x="86581" y="13346"/>
                    <a:pt x="96392" y="23727"/>
                  </a:cubicBezTo>
                  <a:cubicBezTo>
                    <a:pt x="97190" y="24639"/>
                    <a:pt x="98331" y="25096"/>
                    <a:pt x="99586" y="25210"/>
                  </a:cubicBezTo>
                  <a:lnTo>
                    <a:pt x="99586" y="25210"/>
                  </a:lnTo>
                  <a:cubicBezTo>
                    <a:pt x="100841" y="25210"/>
                    <a:pt x="101981" y="24754"/>
                    <a:pt x="102780" y="23955"/>
                  </a:cubicBezTo>
                  <a:cubicBezTo>
                    <a:pt x="103692" y="23156"/>
                    <a:pt x="104149" y="22016"/>
                    <a:pt x="104263" y="20761"/>
                  </a:cubicBezTo>
                  <a:cubicBezTo>
                    <a:pt x="104263" y="19506"/>
                    <a:pt x="103806" y="18366"/>
                    <a:pt x="103008" y="17453"/>
                  </a:cubicBezTo>
                  <a:cubicBezTo>
                    <a:pt x="91487" y="5247"/>
                    <a:pt x="77227" y="0"/>
                    <a:pt x="60459" y="0"/>
                  </a:cubicBezTo>
                  <a:cubicBezTo>
                    <a:pt x="27149" y="0"/>
                    <a:pt x="0" y="27149"/>
                    <a:pt x="0" y="60459"/>
                  </a:cubicBezTo>
                  <a:cubicBezTo>
                    <a:pt x="0" y="93768"/>
                    <a:pt x="27149" y="120917"/>
                    <a:pt x="60459" y="120917"/>
                  </a:cubicBezTo>
                  <a:cubicBezTo>
                    <a:pt x="93768" y="120917"/>
                    <a:pt x="120917" y="93768"/>
                    <a:pt x="120917" y="60459"/>
                  </a:cubicBezTo>
                  <a:cubicBezTo>
                    <a:pt x="120917" y="52816"/>
                    <a:pt x="120461" y="48024"/>
                    <a:pt x="117723" y="40952"/>
                  </a:cubicBezTo>
                </a:path>
              </a:pathLst>
            </a:custGeom>
            <a:grpFill/>
            <a:ln w="11403" cap="flat">
              <a:noFill/>
              <a:prstDash val="solid"/>
              <a:miter/>
            </a:ln>
          </p:spPr>
          <p:txBody>
            <a:bodyPr rtlCol="0" anchor="ctr"/>
            <a:lstStyle/>
            <a:p>
              <a:pPr defTabSz="466522"/>
              <a:endParaRPr lang="en-AU" sz="1000" dirty="0">
                <a:solidFill>
                  <a:prstClr val="black"/>
                </a:solidFill>
              </a:endParaRPr>
            </a:p>
          </p:txBody>
        </p:sp>
        <p:sp>
          <p:nvSpPr>
            <p:cNvPr id="142" name="Freeform: Shape 141">
              <a:extLst>
                <a:ext uri="{FF2B5EF4-FFF2-40B4-BE49-F238E27FC236}">
                  <a16:creationId xmlns:a16="http://schemas.microsoft.com/office/drawing/2014/main" id="{8C6A1A2B-8D85-4F85-E6EB-6371F705B0C2}"/>
                </a:ext>
              </a:extLst>
            </p:cNvPr>
            <p:cNvSpPr/>
            <p:nvPr/>
          </p:nvSpPr>
          <p:spPr>
            <a:xfrm>
              <a:off x="2418381" y="6815284"/>
              <a:ext cx="89575" cy="64793"/>
            </a:xfrm>
            <a:custGeom>
              <a:avLst/>
              <a:gdLst>
                <a:gd name="connsiteX0" fmla="*/ 7871 w 89575"/>
                <a:gd name="connsiteY0" fmla="*/ 30800 h 64793"/>
                <a:gd name="connsiteX1" fmla="*/ 1369 w 89575"/>
                <a:gd name="connsiteY1" fmla="*/ 30800 h 64793"/>
                <a:gd name="connsiteX2" fmla="*/ 0 w 89575"/>
                <a:gd name="connsiteY2" fmla="*/ 33994 h 64793"/>
                <a:gd name="connsiteX3" fmla="*/ 1369 w 89575"/>
                <a:gd name="connsiteY3" fmla="*/ 37188 h 64793"/>
                <a:gd name="connsiteX4" fmla="*/ 27948 w 89575"/>
                <a:gd name="connsiteY4" fmla="*/ 63425 h 64793"/>
                <a:gd name="connsiteX5" fmla="*/ 31256 w 89575"/>
                <a:gd name="connsiteY5" fmla="*/ 64793 h 64793"/>
                <a:gd name="connsiteX6" fmla="*/ 34450 w 89575"/>
                <a:gd name="connsiteY6" fmla="*/ 63425 h 64793"/>
                <a:gd name="connsiteX7" fmla="*/ 88293 w 89575"/>
                <a:gd name="connsiteY7" fmla="*/ 7757 h 64793"/>
                <a:gd name="connsiteX8" fmla="*/ 88293 w 89575"/>
                <a:gd name="connsiteY8" fmla="*/ 1255 h 64793"/>
                <a:gd name="connsiteX9" fmla="*/ 84984 w 89575"/>
                <a:gd name="connsiteY9" fmla="*/ 0 h 64793"/>
                <a:gd name="connsiteX10" fmla="*/ 81790 w 89575"/>
                <a:gd name="connsiteY10" fmla="*/ 1369 h 64793"/>
                <a:gd name="connsiteX11" fmla="*/ 31256 w 89575"/>
                <a:gd name="connsiteY11" fmla="*/ 53615 h 64793"/>
                <a:gd name="connsiteX12" fmla="*/ 7985 w 89575"/>
                <a:gd name="connsiteY12" fmla="*/ 30572 h 6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75" h="64793">
                  <a:moveTo>
                    <a:pt x="7871" y="30800"/>
                  </a:moveTo>
                  <a:cubicBezTo>
                    <a:pt x="6046" y="28974"/>
                    <a:pt x="3194" y="29089"/>
                    <a:pt x="1369" y="30800"/>
                  </a:cubicBezTo>
                  <a:cubicBezTo>
                    <a:pt x="456" y="31713"/>
                    <a:pt x="0" y="32853"/>
                    <a:pt x="0" y="33994"/>
                  </a:cubicBezTo>
                  <a:cubicBezTo>
                    <a:pt x="0" y="35249"/>
                    <a:pt x="456" y="36389"/>
                    <a:pt x="1369" y="37188"/>
                  </a:cubicBezTo>
                  <a:lnTo>
                    <a:pt x="27948" y="63425"/>
                  </a:lnTo>
                  <a:cubicBezTo>
                    <a:pt x="28860" y="64337"/>
                    <a:pt x="30001" y="64793"/>
                    <a:pt x="31256" y="64793"/>
                  </a:cubicBezTo>
                  <a:cubicBezTo>
                    <a:pt x="32511" y="64793"/>
                    <a:pt x="33652" y="64223"/>
                    <a:pt x="34450" y="63425"/>
                  </a:cubicBezTo>
                  <a:lnTo>
                    <a:pt x="88293" y="7757"/>
                  </a:lnTo>
                  <a:cubicBezTo>
                    <a:pt x="90004" y="5932"/>
                    <a:pt x="90004" y="3080"/>
                    <a:pt x="88293" y="1255"/>
                  </a:cubicBezTo>
                  <a:cubicBezTo>
                    <a:pt x="87266" y="228"/>
                    <a:pt x="85783" y="0"/>
                    <a:pt x="84984" y="0"/>
                  </a:cubicBezTo>
                  <a:cubicBezTo>
                    <a:pt x="83730" y="0"/>
                    <a:pt x="82589" y="570"/>
                    <a:pt x="81790" y="1369"/>
                  </a:cubicBezTo>
                  <a:lnTo>
                    <a:pt x="31256" y="53615"/>
                  </a:lnTo>
                  <a:lnTo>
                    <a:pt x="7985" y="30572"/>
                  </a:lnTo>
                  <a:close/>
                </a:path>
              </a:pathLst>
            </a:custGeom>
            <a:grpFill/>
            <a:ln w="11403" cap="flat">
              <a:noFill/>
              <a:prstDash val="solid"/>
              <a:miter/>
            </a:ln>
          </p:spPr>
          <p:txBody>
            <a:bodyPr rtlCol="0" anchor="ctr"/>
            <a:lstStyle/>
            <a:p>
              <a:pPr defTabSz="466522"/>
              <a:endParaRPr lang="en-AU" sz="1000" dirty="0">
                <a:solidFill>
                  <a:prstClr val="black"/>
                </a:solidFill>
              </a:endParaRPr>
            </a:p>
          </p:txBody>
        </p:sp>
        <p:sp>
          <p:nvSpPr>
            <p:cNvPr id="143" name="Freeform: Shape 142">
              <a:extLst>
                <a:ext uri="{FF2B5EF4-FFF2-40B4-BE49-F238E27FC236}">
                  <a16:creationId xmlns:a16="http://schemas.microsoft.com/office/drawing/2014/main" id="{C91F4668-763C-0B40-D0ED-4DD8FBF68412}"/>
                </a:ext>
              </a:extLst>
            </p:cNvPr>
            <p:cNvSpPr/>
            <p:nvPr/>
          </p:nvSpPr>
          <p:spPr>
            <a:xfrm>
              <a:off x="2249667" y="6608812"/>
              <a:ext cx="220845" cy="270923"/>
            </a:xfrm>
            <a:custGeom>
              <a:avLst/>
              <a:gdLst>
                <a:gd name="connsiteX0" fmla="*/ 132211 w 220845"/>
                <a:gd name="connsiteY0" fmla="*/ 261227 h 270923"/>
                <a:gd name="connsiteX1" fmla="*/ 22586 w 220845"/>
                <a:gd name="connsiteY1" fmla="*/ 261227 h 270923"/>
                <a:gd name="connsiteX2" fmla="*/ 9696 w 220845"/>
                <a:gd name="connsiteY2" fmla="*/ 248337 h 270923"/>
                <a:gd name="connsiteX3" fmla="*/ 9696 w 220845"/>
                <a:gd name="connsiteY3" fmla="*/ 22586 h 270923"/>
                <a:gd name="connsiteX4" fmla="*/ 22586 w 220845"/>
                <a:gd name="connsiteY4" fmla="*/ 9696 h 270923"/>
                <a:gd name="connsiteX5" fmla="*/ 137002 w 220845"/>
                <a:gd name="connsiteY5" fmla="*/ 9696 h 270923"/>
                <a:gd name="connsiteX6" fmla="*/ 137002 w 220845"/>
                <a:gd name="connsiteY6" fmla="*/ 72550 h 270923"/>
                <a:gd name="connsiteX7" fmla="*/ 148295 w 220845"/>
                <a:gd name="connsiteY7" fmla="*/ 83843 h 270923"/>
                <a:gd name="connsiteX8" fmla="*/ 211149 w 220845"/>
                <a:gd name="connsiteY8" fmla="*/ 83843 h 270923"/>
                <a:gd name="connsiteX9" fmla="*/ 211149 w 220845"/>
                <a:gd name="connsiteY9" fmla="*/ 182403 h 270923"/>
                <a:gd name="connsiteX10" fmla="*/ 220846 w 220845"/>
                <a:gd name="connsiteY10" fmla="*/ 182403 h 270923"/>
                <a:gd name="connsiteX11" fmla="*/ 220846 w 220845"/>
                <a:gd name="connsiteY11" fmla="*/ 67759 h 270923"/>
                <a:gd name="connsiteX12" fmla="*/ 159588 w 220845"/>
                <a:gd name="connsiteY12" fmla="*/ 0 h 270923"/>
                <a:gd name="connsiteX13" fmla="*/ 22586 w 220845"/>
                <a:gd name="connsiteY13" fmla="*/ 0 h 270923"/>
                <a:gd name="connsiteX14" fmla="*/ 0 w 220845"/>
                <a:gd name="connsiteY14" fmla="*/ 22586 h 270923"/>
                <a:gd name="connsiteX15" fmla="*/ 0 w 220845"/>
                <a:gd name="connsiteY15" fmla="*/ 248337 h 270923"/>
                <a:gd name="connsiteX16" fmla="*/ 22586 w 220845"/>
                <a:gd name="connsiteY16" fmla="*/ 270924 h 270923"/>
                <a:gd name="connsiteX17" fmla="*/ 132211 w 220845"/>
                <a:gd name="connsiteY17" fmla="*/ 270924 h 270923"/>
                <a:gd name="connsiteX18" fmla="*/ 132211 w 220845"/>
                <a:gd name="connsiteY18" fmla="*/ 261227 h 270923"/>
                <a:gd name="connsiteX19" fmla="*/ 146698 w 220845"/>
                <a:gd name="connsiteY19" fmla="*/ 9696 h 270923"/>
                <a:gd name="connsiteX20" fmla="*/ 154797 w 220845"/>
                <a:gd name="connsiteY20" fmla="*/ 9696 h 270923"/>
                <a:gd name="connsiteX21" fmla="*/ 212860 w 220845"/>
                <a:gd name="connsiteY21" fmla="*/ 74148 h 270923"/>
                <a:gd name="connsiteX22" fmla="*/ 146812 w 220845"/>
                <a:gd name="connsiteY22" fmla="*/ 74148 h 270923"/>
                <a:gd name="connsiteX23" fmla="*/ 146812 w 220845"/>
                <a:gd name="connsiteY23" fmla="*/ 9696 h 27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0845" h="270923">
                  <a:moveTo>
                    <a:pt x="132211" y="261227"/>
                  </a:moveTo>
                  <a:lnTo>
                    <a:pt x="22586" y="261227"/>
                  </a:lnTo>
                  <a:cubicBezTo>
                    <a:pt x="16084" y="261227"/>
                    <a:pt x="9696" y="254725"/>
                    <a:pt x="9696" y="248337"/>
                  </a:cubicBezTo>
                  <a:lnTo>
                    <a:pt x="9696" y="22586"/>
                  </a:lnTo>
                  <a:cubicBezTo>
                    <a:pt x="9696" y="16084"/>
                    <a:pt x="16198" y="9696"/>
                    <a:pt x="22586" y="9696"/>
                  </a:cubicBezTo>
                  <a:lnTo>
                    <a:pt x="137002" y="9696"/>
                  </a:lnTo>
                  <a:lnTo>
                    <a:pt x="137002" y="72550"/>
                  </a:lnTo>
                  <a:cubicBezTo>
                    <a:pt x="137002" y="79053"/>
                    <a:pt x="141793" y="83843"/>
                    <a:pt x="148295" y="83843"/>
                  </a:cubicBezTo>
                  <a:lnTo>
                    <a:pt x="211149" y="83843"/>
                  </a:lnTo>
                  <a:lnTo>
                    <a:pt x="211149" y="182403"/>
                  </a:lnTo>
                  <a:lnTo>
                    <a:pt x="220846" y="182403"/>
                  </a:lnTo>
                  <a:lnTo>
                    <a:pt x="220846" y="67759"/>
                  </a:lnTo>
                  <a:lnTo>
                    <a:pt x="159588" y="0"/>
                  </a:lnTo>
                  <a:lnTo>
                    <a:pt x="22586" y="0"/>
                  </a:lnTo>
                  <a:cubicBezTo>
                    <a:pt x="9696" y="0"/>
                    <a:pt x="0" y="9696"/>
                    <a:pt x="0" y="22586"/>
                  </a:cubicBezTo>
                  <a:lnTo>
                    <a:pt x="0" y="248337"/>
                  </a:lnTo>
                  <a:cubicBezTo>
                    <a:pt x="0" y="261227"/>
                    <a:pt x="9696" y="270924"/>
                    <a:pt x="22586" y="270924"/>
                  </a:cubicBezTo>
                  <a:lnTo>
                    <a:pt x="132211" y="270924"/>
                  </a:lnTo>
                  <a:lnTo>
                    <a:pt x="132211" y="261227"/>
                  </a:lnTo>
                  <a:close/>
                  <a:moveTo>
                    <a:pt x="146698" y="9696"/>
                  </a:moveTo>
                  <a:lnTo>
                    <a:pt x="154797" y="9696"/>
                  </a:lnTo>
                  <a:lnTo>
                    <a:pt x="212860" y="74148"/>
                  </a:lnTo>
                  <a:lnTo>
                    <a:pt x="146812" y="74148"/>
                  </a:lnTo>
                  <a:lnTo>
                    <a:pt x="146812" y="9696"/>
                  </a:lnTo>
                  <a:close/>
                </a:path>
              </a:pathLst>
            </a:custGeom>
            <a:grpFill/>
            <a:ln w="11403" cap="flat">
              <a:noFill/>
              <a:prstDash val="solid"/>
              <a:miter/>
            </a:ln>
          </p:spPr>
          <p:txBody>
            <a:bodyPr rtlCol="0" anchor="ctr"/>
            <a:lstStyle/>
            <a:p>
              <a:pPr defTabSz="466522"/>
              <a:endParaRPr lang="en-AU" sz="1000">
                <a:solidFill>
                  <a:prstClr val="black"/>
                </a:solidFill>
              </a:endParaRPr>
            </a:p>
          </p:txBody>
        </p:sp>
      </p:grpSp>
      <p:cxnSp>
        <p:nvCxnSpPr>
          <p:cNvPr id="52" name="Straight Connector 51">
            <a:extLst>
              <a:ext uri="{FF2B5EF4-FFF2-40B4-BE49-F238E27FC236}">
                <a16:creationId xmlns:a16="http://schemas.microsoft.com/office/drawing/2014/main" id="{F3C41C97-ED22-8A70-0373-9F70FF305679}"/>
              </a:ext>
              <a:ext uri="{C183D7F6-B498-43B3-948B-1728B52AA6E4}">
                <adec:decorative xmlns:adec="http://schemas.microsoft.com/office/drawing/2017/decorative" val="1"/>
              </a:ext>
            </a:extLst>
          </p:cNvPr>
          <p:cNvCxnSpPr>
            <a:cxnSpLocks/>
            <a:stCxn id="62" idx="6"/>
            <a:endCxn id="54" idx="2"/>
          </p:cNvCxnSpPr>
          <p:nvPr/>
        </p:nvCxnSpPr>
        <p:spPr>
          <a:xfrm>
            <a:off x="2638207" y="2372613"/>
            <a:ext cx="1144073"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33C1A730-1B01-F015-9DD5-63222BC76C88}"/>
              </a:ext>
              <a:ext uri="{C183D7F6-B498-43B3-948B-1728B52AA6E4}">
                <adec:decorative xmlns:adec="http://schemas.microsoft.com/office/drawing/2017/decorative" val="1"/>
              </a:ext>
            </a:extLst>
          </p:cNvPr>
          <p:cNvSpPr/>
          <p:nvPr/>
        </p:nvSpPr>
        <p:spPr>
          <a:xfrm>
            <a:off x="3782280"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2</a:t>
            </a:r>
          </a:p>
        </p:txBody>
      </p:sp>
      <p:cxnSp>
        <p:nvCxnSpPr>
          <p:cNvPr id="55" name="Straight Connector 54">
            <a:extLst>
              <a:ext uri="{FF2B5EF4-FFF2-40B4-BE49-F238E27FC236}">
                <a16:creationId xmlns:a16="http://schemas.microsoft.com/office/drawing/2014/main" id="{B420F2F9-5177-2995-F617-F04063F87E98}"/>
              </a:ext>
              <a:ext uri="{C183D7F6-B498-43B3-948B-1728B52AA6E4}">
                <adec:decorative xmlns:adec="http://schemas.microsoft.com/office/drawing/2017/decorative" val="1"/>
              </a:ext>
            </a:extLst>
          </p:cNvPr>
          <p:cNvCxnSpPr>
            <a:cxnSpLocks/>
            <a:stCxn id="54" idx="4"/>
          </p:cNvCxnSpPr>
          <p:nvPr/>
        </p:nvCxnSpPr>
        <p:spPr>
          <a:xfrm>
            <a:off x="3890929" y="2481262"/>
            <a:ext cx="0"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991AC3C5-CC1F-035D-3A0E-B5B9BAAD5541}"/>
              </a:ext>
              <a:ext uri="{C183D7F6-B498-43B3-948B-1728B52AA6E4}">
                <adec:decorative xmlns:adec="http://schemas.microsoft.com/office/drawing/2017/decorative" val="1"/>
              </a:ext>
            </a:extLst>
          </p:cNvPr>
          <p:cNvSpPr/>
          <p:nvPr/>
        </p:nvSpPr>
        <p:spPr>
          <a:xfrm>
            <a:off x="2564181" y="2646065"/>
            <a:ext cx="245364" cy="234823"/>
          </a:xfrm>
          <a:custGeom>
            <a:avLst/>
            <a:gdLst>
              <a:gd name="connsiteX0" fmla="*/ 329685 w 330369"/>
              <a:gd name="connsiteY0" fmla="*/ 224918 h 316176"/>
              <a:gd name="connsiteX1" fmla="*/ 328545 w 330369"/>
              <a:gd name="connsiteY1" fmla="*/ 220926 h 316176"/>
              <a:gd name="connsiteX2" fmla="*/ 312232 w 330369"/>
              <a:gd name="connsiteY2" fmla="*/ 192749 h 316176"/>
              <a:gd name="connsiteX3" fmla="*/ 292840 w 330369"/>
              <a:gd name="connsiteY3" fmla="*/ 159212 h 316176"/>
              <a:gd name="connsiteX4" fmla="*/ 287136 w 330369"/>
              <a:gd name="connsiteY4" fmla="*/ 155790 h 316176"/>
              <a:gd name="connsiteX5" fmla="*/ 287136 w 330369"/>
              <a:gd name="connsiteY5" fmla="*/ 155790 h 316176"/>
              <a:gd name="connsiteX6" fmla="*/ 273219 w 330369"/>
              <a:gd name="connsiteY6" fmla="*/ 155790 h 316176"/>
              <a:gd name="connsiteX7" fmla="*/ 267173 w 330369"/>
              <a:gd name="connsiteY7" fmla="*/ 155790 h 316176"/>
              <a:gd name="connsiteX8" fmla="*/ 254511 w 330369"/>
              <a:gd name="connsiteY8" fmla="*/ 155790 h 316176"/>
              <a:gd name="connsiteX9" fmla="*/ 248579 w 330369"/>
              <a:gd name="connsiteY9" fmla="*/ 155790 h 316176"/>
              <a:gd name="connsiteX10" fmla="*/ 248579 w 330369"/>
              <a:gd name="connsiteY10" fmla="*/ 125218 h 316176"/>
              <a:gd name="connsiteX11" fmla="*/ 248579 w 330369"/>
              <a:gd name="connsiteY11" fmla="*/ 87916 h 316176"/>
              <a:gd name="connsiteX12" fmla="*/ 231126 w 330369"/>
              <a:gd name="connsiteY12" fmla="*/ 69893 h 316176"/>
              <a:gd name="connsiteX13" fmla="*/ 231126 w 330369"/>
              <a:gd name="connsiteY13" fmla="*/ 69893 h 316176"/>
              <a:gd name="connsiteX14" fmla="*/ 174546 w 330369"/>
              <a:gd name="connsiteY14" fmla="*/ 69893 h 316176"/>
              <a:gd name="connsiteX15" fmla="*/ 174546 w 330369"/>
              <a:gd name="connsiteY15" fmla="*/ 69893 h 316176"/>
              <a:gd name="connsiteX16" fmla="*/ 170782 w 330369"/>
              <a:gd name="connsiteY16" fmla="*/ 67954 h 316176"/>
              <a:gd name="connsiteX17" fmla="*/ 161199 w 330369"/>
              <a:gd name="connsiteY17" fmla="*/ 53466 h 316176"/>
              <a:gd name="connsiteX18" fmla="*/ 160287 w 330369"/>
              <a:gd name="connsiteY18" fmla="*/ 52097 h 316176"/>
              <a:gd name="connsiteX19" fmla="*/ 132567 w 330369"/>
              <a:gd name="connsiteY19" fmla="*/ 35101 h 316176"/>
              <a:gd name="connsiteX20" fmla="*/ 89219 w 330369"/>
              <a:gd name="connsiteY20" fmla="*/ 32591 h 316176"/>
              <a:gd name="connsiteX21" fmla="*/ 70397 w 330369"/>
              <a:gd name="connsiteY21" fmla="*/ 26773 h 316176"/>
              <a:gd name="connsiteX22" fmla="*/ 64922 w 330369"/>
              <a:gd name="connsiteY22" fmla="*/ 24264 h 316176"/>
              <a:gd name="connsiteX23" fmla="*/ 64922 w 330369"/>
              <a:gd name="connsiteY23" fmla="*/ 23921 h 316176"/>
              <a:gd name="connsiteX24" fmla="*/ 65378 w 330369"/>
              <a:gd name="connsiteY24" fmla="*/ 23009 h 316176"/>
              <a:gd name="connsiteX25" fmla="*/ 58876 w 330369"/>
              <a:gd name="connsiteY25" fmla="*/ 6468 h 316176"/>
              <a:gd name="connsiteX26" fmla="*/ 50891 w 330369"/>
              <a:gd name="connsiteY26" fmla="*/ 2704 h 316176"/>
              <a:gd name="connsiteX27" fmla="*/ 48153 w 330369"/>
              <a:gd name="connsiteY27" fmla="*/ 1449 h 316176"/>
              <a:gd name="connsiteX28" fmla="*/ 31840 w 330369"/>
              <a:gd name="connsiteY28" fmla="*/ 7153 h 316176"/>
              <a:gd name="connsiteX29" fmla="*/ 1383 w 330369"/>
              <a:gd name="connsiteY29" fmla="*/ 72288 h 316176"/>
              <a:gd name="connsiteX30" fmla="*/ 6859 w 330369"/>
              <a:gd name="connsiteY30" fmla="*/ 88259 h 316176"/>
              <a:gd name="connsiteX31" fmla="*/ 16441 w 330369"/>
              <a:gd name="connsiteY31" fmla="*/ 92821 h 316176"/>
              <a:gd name="connsiteX32" fmla="*/ 19064 w 330369"/>
              <a:gd name="connsiteY32" fmla="*/ 94076 h 316176"/>
              <a:gd name="connsiteX33" fmla="*/ 35034 w 330369"/>
              <a:gd name="connsiteY33" fmla="*/ 88487 h 316176"/>
              <a:gd name="connsiteX34" fmla="*/ 36517 w 330369"/>
              <a:gd name="connsiteY34" fmla="*/ 85635 h 316176"/>
              <a:gd name="connsiteX35" fmla="*/ 36746 w 330369"/>
              <a:gd name="connsiteY35" fmla="*/ 85065 h 316176"/>
              <a:gd name="connsiteX36" fmla="*/ 41309 w 330369"/>
              <a:gd name="connsiteY36" fmla="*/ 87232 h 316176"/>
              <a:gd name="connsiteX37" fmla="*/ 56708 w 330369"/>
              <a:gd name="connsiteY37" fmla="*/ 94419 h 316176"/>
              <a:gd name="connsiteX38" fmla="*/ 84314 w 330369"/>
              <a:gd name="connsiteY38" fmla="*/ 100921 h 316176"/>
              <a:gd name="connsiteX39" fmla="*/ 85569 w 330369"/>
              <a:gd name="connsiteY39" fmla="*/ 100921 h 316176"/>
              <a:gd name="connsiteX40" fmla="*/ 112262 w 330369"/>
              <a:gd name="connsiteY40" fmla="*/ 107195 h 316176"/>
              <a:gd name="connsiteX41" fmla="*/ 127434 w 330369"/>
              <a:gd name="connsiteY41" fmla="*/ 114267 h 316176"/>
              <a:gd name="connsiteX42" fmla="*/ 134050 w 330369"/>
              <a:gd name="connsiteY42" fmla="*/ 117347 h 316176"/>
              <a:gd name="connsiteX43" fmla="*/ 134050 w 330369"/>
              <a:gd name="connsiteY43" fmla="*/ 155790 h 316176"/>
              <a:gd name="connsiteX44" fmla="*/ 133366 w 330369"/>
              <a:gd name="connsiteY44" fmla="*/ 155790 h 316176"/>
              <a:gd name="connsiteX45" fmla="*/ 131426 w 330369"/>
              <a:gd name="connsiteY45" fmla="*/ 155790 h 316176"/>
              <a:gd name="connsiteX46" fmla="*/ 121844 w 330369"/>
              <a:gd name="connsiteY46" fmla="*/ 155790 h 316176"/>
              <a:gd name="connsiteX47" fmla="*/ 97204 w 330369"/>
              <a:gd name="connsiteY47" fmla="*/ 155904 h 316176"/>
              <a:gd name="connsiteX48" fmla="*/ 97204 w 330369"/>
              <a:gd name="connsiteY48" fmla="*/ 155904 h 316176"/>
              <a:gd name="connsiteX49" fmla="*/ 90360 w 330369"/>
              <a:gd name="connsiteY49" fmla="*/ 159897 h 316176"/>
              <a:gd name="connsiteX50" fmla="*/ 69713 w 330369"/>
              <a:gd name="connsiteY50" fmla="*/ 195830 h 316176"/>
              <a:gd name="connsiteX51" fmla="*/ 55340 w 330369"/>
              <a:gd name="connsiteY51" fmla="*/ 220812 h 316176"/>
              <a:gd name="connsiteX52" fmla="*/ 53971 w 330369"/>
              <a:gd name="connsiteY52" fmla="*/ 224690 h 316176"/>
              <a:gd name="connsiteX53" fmla="*/ 53971 w 330369"/>
              <a:gd name="connsiteY53" fmla="*/ 240432 h 316176"/>
              <a:gd name="connsiteX54" fmla="*/ 53971 w 330369"/>
              <a:gd name="connsiteY54" fmla="*/ 245451 h 316176"/>
              <a:gd name="connsiteX55" fmla="*/ 58419 w 330369"/>
              <a:gd name="connsiteY55" fmla="*/ 250014 h 316176"/>
              <a:gd name="connsiteX56" fmla="*/ 62868 w 330369"/>
              <a:gd name="connsiteY56" fmla="*/ 250014 h 316176"/>
              <a:gd name="connsiteX57" fmla="*/ 64123 w 330369"/>
              <a:gd name="connsiteY57" fmla="*/ 250014 h 316176"/>
              <a:gd name="connsiteX58" fmla="*/ 79979 w 330369"/>
              <a:gd name="connsiteY58" fmla="*/ 250014 h 316176"/>
              <a:gd name="connsiteX59" fmla="*/ 87736 w 330369"/>
              <a:gd name="connsiteY59" fmla="*/ 250014 h 316176"/>
              <a:gd name="connsiteX60" fmla="*/ 87736 w 330369"/>
              <a:gd name="connsiteY60" fmla="*/ 253779 h 316176"/>
              <a:gd name="connsiteX61" fmla="*/ 87736 w 330369"/>
              <a:gd name="connsiteY61" fmla="*/ 309332 h 316176"/>
              <a:gd name="connsiteX62" fmla="*/ 94581 w 330369"/>
              <a:gd name="connsiteY62" fmla="*/ 316177 h 316176"/>
              <a:gd name="connsiteX63" fmla="*/ 124696 w 330369"/>
              <a:gd name="connsiteY63" fmla="*/ 316177 h 316176"/>
              <a:gd name="connsiteX64" fmla="*/ 169869 w 330369"/>
              <a:gd name="connsiteY64" fmla="*/ 316177 h 316176"/>
              <a:gd name="connsiteX65" fmla="*/ 289532 w 330369"/>
              <a:gd name="connsiteY65" fmla="*/ 316177 h 316176"/>
              <a:gd name="connsiteX66" fmla="*/ 296718 w 330369"/>
              <a:gd name="connsiteY66" fmla="*/ 309218 h 316176"/>
              <a:gd name="connsiteX67" fmla="*/ 296718 w 330369"/>
              <a:gd name="connsiteY67" fmla="*/ 252980 h 316176"/>
              <a:gd name="connsiteX68" fmla="*/ 296718 w 330369"/>
              <a:gd name="connsiteY68" fmla="*/ 249900 h 316176"/>
              <a:gd name="connsiteX69" fmla="*/ 303334 w 330369"/>
              <a:gd name="connsiteY69" fmla="*/ 249900 h 316176"/>
              <a:gd name="connsiteX70" fmla="*/ 324210 w 330369"/>
              <a:gd name="connsiteY70" fmla="*/ 249900 h 316176"/>
              <a:gd name="connsiteX71" fmla="*/ 324210 w 330369"/>
              <a:gd name="connsiteY71" fmla="*/ 249900 h 316176"/>
              <a:gd name="connsiteX72" fmla="*/ 330370 w 330369"/>
              <a:gd name="connsiteY72" fmla="*/ 243968 h 316176"/>
              <a:gd name="connsiteX73" fmla="*/ 330370 w 330369"/>
              <a:gd name="connsiteY73" fmla="*/ 224576 h 316176"/>
              <a:gd name="connsiteX74" fmla="*/ 286908 w 330369"/>
              <a:gd name="connsiteY74" fmla="*/ 250471 h 316176"/>
              <a:gd name="connsiteX75" fmla="*/ 286908 w 330369"/>
              <a:gd name="connsiteY75" fmla="*/ 307165 h 316176"/>
              <a:gd name="connsiteX76" fmla="*/ 96178 w 330369"/>
              <a:gd name="connsiteY76" fmla="*/ 307165 h 316176"/>
              <a:gd name="connsiteX77" fmla="*/ 96178 w 330369"/>
              <a:gd name="connsiteY77" fmla="*/ 250471 h 316176"/>
              <a:gd name="connsiteX78" fmla="*/ 286908 w 330369"/>
              <a:gd name="connsiteY78" fmla="*/ 250471 h 316176"/>
              <a:gd name="connsiteX79" fmla="*/ 320560 w 330369"/>
              <a:gd name="connsiteY79" fmla="*/ 229025 h 316176"/>
              <a:gd name="connsiteX80" fmla="*/ 320560 w 330369"/>
              <a:gd name="connsiteY80" fmla="*/ 241003 h 316176"/>
              <a:gd name="connsiteX81" fmla="*/ 62640 w 330369"/>
              <a:gd name="connsiteY81" fmla="*/ 241003 h 316176"/>
              <a:gd name="connsiteX82" fmla="*/ 62640 w 330369"/>
              <a:gd name="connsiteY82" fmla="*/ 229025 h 316176"/>
              <a:gd name="connsiteX83" fmla="*/ 320560 w 330369"/>
              <a:gd name="connsiteY83" fmla="*/ 229025 h 316176"/>
              <a:gd name="connsiteX84" fmla="*/ 239111 w 330369"/>
              <a:gd name="connsiteY84" fmla="*/ 166855 h 316176"/>
              <a:gd name="connsiteX85" fmla="*/ 239111 w 330369"/>
              <a:gd name="connsiteY85" fmla="*/ 187616 h 316176"/>
              <a:gd name="connsiteX86" fmla="*/ 142948 w 330369"/>
              <a:gd name="connsiteY86" fmla="*/ 187616 h 316176"/>
              <a:gd name="connsiteX87" fmla="*/ 142948 w 330369"/>
              <a:gd name="connsiteY87" fmla="*/ 116777 h 316176"/>
              <a:gd name="connsiteX88" fmla="*/ 156294 w 330369"/>
              <a:gd name="connsiteY88" fmla="*/ 106282 h 316176"/>
              <a:gd name="connsiteX89" fmla="*/ 154811 w 330369"/>
              <a:gd name="connsiteY89" fmla="*/ 91909 h 316176"/>
              <a:gd name="connsiteX90" fmla="*/ 147853 w 330369"/>
              <a:gd name="connsiteY90" fmla="*/ 85407 h 316176"/>
              <a:gd name="connsiteX91" fmla="*/ 144887 w 330369"/>
              <a:gd name="connsiteY91" fmla="*/ 82783 h 316176"/>
              <a:gd name="connsiteX92" fmla="*/ 151617 w 330369"/>
              <a:gd name="connsiteY92" fmla="*/ 79133 h 316176"/>
              <a:gd name="connsiteX93" fmla="*/ 229187 w 330369"/>
              <a:gd name="connsiteY93" fmla="*/ 79133 h 316176"/>
              <a:gd name="connsiteX94" fmla="*/ 239111 w 330369"/>
              <a:gd name="connsiteY94" fmla="*/ 89285 h 316176"/>
              <a:gd name="connsiteX95" fmla="*/ 239111 w 330369"/>
              <a:gd name="connsiteY95" fmla="*/ 166855 h 316176"/>
              <a:gd name="connsiteX96" fmla="*/ 158462 w 330369"/>
              <a:gd name="connsiteY96" fmla="*/ 70007 h 316176"/>
              <a:gd name="connsiteX97" fmla="*/ 135761 w 330369"/>
              <a:gd name="connsiteY97" fmla="*/ 79133 h 316176"/>
              <a:gd name="connsiteX98" fmla="*/ 112262 w 330369"/>
              <a:gd name="connsiteY98" fmla="*/ 68182 h 316176"/>
              <a:gd name="connsiteX99" fmla="*/ 110437 w 330369"/>
              <a:gd name="connsiteY99" fmla="*/ 67269 h 316176"/>
              <a:gd name="connsiteX100" fmla="*/ 105988 w 330369"/>
              <a:gd name="connsiteY100" fmla="*/ 65216 h 316176"/>
              <a:gd name="connsiteX101" fmla="*/ 99372 w 330369"/>
              <a:gd name="connsiteY101" fmla="*/ 67269 h 316176"/>
              <a:gd name="connsiteX102" fmla="*/ 102338 w 330369"/>
              <a:gd name="connsiteY102" fmla="*/ 73543 h 316176"/>
              <a:gd name="connsiteX103" fmla="*/ 111349 w 330369"/>
              <a:gd name="connsiteY103" fmla="*/ 77764 h 316176"/>
              <a:gd name="connsiteX104" fmla="*/ 135875 w 330369"/>
              <a:gd name="connsiteY104" fmla="*/ 89285 h 316176"/>
              <a:gd name="connsiteX105" fmla="*/ 146142 w 330369"/>
              <a:gd name="connsiteY105" fmla="*/ 95902 h 316176"/>
              <a:gd name="connsiteX106" fmla="*/ 147511 w 330369"/>
              <a:gd name="connsiteY106" fmla="*/ 96928 h 316176"/>
              <a:gd name="connsiteX107" fmla="*/ 147967 w 330369"/>
              <a:gd name="connsiteY107" fmla="*/ 102518 h 316176"/>
              <a:gd name="connsiteX108" fmla="*/ 132453 w 330369"/>
              <a:gd name="connsiteY108" fmla="*/ 106967 h 316176"/>
              <a:gd name="connsiteX109" fmla="*/ 113403 w 330369"/>
              <a:gd name="connsiteY109" fmla="*/ 98069 h 316176"/>
              <a:gd name="connsiteX110" fmla="*/ 87508 w 330369"/>
              <a:gd name="connsiteY110" fmla="*/ 92023 h 316176"/>
              <a:gd name="connsiteX111" fmla="*/ 86710 w 330369"/>
              <a:gd name="connsiteY111" fmla="*/ 92023 h 316176"/>
              <a:gd name="connsiteX112" fmla="*/ 58762 w 330369"/>
              <a:gd name="connsiteY112" fmla="*/ 85749 h 316176"/>
              <a:gd name="connsiteX113" fmla="*/ 44731 w 330369"/>
              <a:gd name="connsiteY113" fmla="*/ 79133 h 316176"/>
              <a:gd name="connsiteX114" fmla="*/ 39826 w 330369"/>
              <a:gd name="connsiteY114" fmla="*/ 76851 h 316176"/>
              <a:gd name="connsiteX115" fmla="*/ 60473 w 330369"/>
              <a:gd name="connsiteY115" fmla="*/ 32819 h 316176"/>
              <a:gd name="connsiteX116" fmla="*/ 61271 w 330369"/>
              <a:gd name="connsiteY116" fmla="*/ 33161 h 316176"/>
              <a:gd name="connsiteX117" fmla="*/ 63895 w 330369"/>
              <a:gd name="connsiteY117" fmla="*/ 34416 h 316176"/>
              <a:gd name="connsiteX118" fmla="*/ 97318 w 330369"/>
              <a:gd name="connsiteY118" fmla="*/ 42401 h 316176"/>
              <a:gd name="connsiteX119" fmla="*/ 127206 w 330369"/>
              <a:gd name="connsiteY119" fmla="*/ 44112 h 316176"/>
              <a:gd name="connsiteX120" fmla="*/ 130057 w 330369"/>
              <a:gd name="connsiteY120" fmla="*/ 44340 h 316176"/>
              <a:gd name="connsiteX121" fmla="*/ 150933 w 330369"/>
              <a:gd name="connsiteY121" fmla="*/ 56090 h 316176"/>
              <a:gd name="connsiteX122" fmla="*/ 157663 w 330369"/>
              <a:gd name="connsiteY122" fmla="*/ 66014 h 316176"/>
              <a:gd name="connsiteX123" fmla="*/ 160401 w 330369"/>
              <a:gd name="connsiteY123" fmla="*/ 70121 h 316176"/>
              <a:gd name="connsiteX124" fmla="*/ 158119 w 330369"/>
              <a:gd name="connsiteY124" fmla="*/ 70121 h 316176"/>
              <a:gd name="connsiteX125" fmla="*/ 133594 w 330369"/>
              <a:gd name="connsiteY125" fmla="*/ 187958 h 316176"/>
              <a:gd name="connsiteX126" fmla="*/ 125152 w 330369"/>
              <a:gd name="connsiteY126" fmla="*/ 187958 h 316176"/>
              <a:gd name="connsiteX127" fmla="*/ 125152 w 330369"/>
              <a:gd name="connsiteY127" fmla="*/ 187958 h 316176"/>
              <a:gd name="connsiteX128" fmla="*/ 120475 w 330369"/>
              <a:gd name="connsiteY128" fmla="*/ 189555 h 316176"/>
              <a:gd name="connsiteX129" fmla="*/ 119334 w 330369"/>
              <a:gd name="connsiteY129" fmla="*/ 192635 h 316176"/>
              <a:gd name="connsiteX130" fmla="*/ 125038 w 330369"/>
              <a:gd name="connsiteY130" fmla="*/ 196970 h 316176"/>
              <a:gd name="connsiteX131" fmla="*/ 253256 w 330369"/>
              <a:gd name="connsiteY131" fmla="*/ 196970 h 316176"/>
              <a:gd name="connsiteX132" fmla="*/ 255424 w 330369"/>
              <a:gd name="connsiteY132" fmla="*/ 196970 h 316176"/>
              <a:gd name="connsiteX133" fmla="*/ 258162 w 330369"/>
              <a:gd name="connsiteY133" fmla="*/ 196970 h 316176"/>
              <a:gd name="connsiteX134" fmla="*/ 261812 w 330369"/>
              <a:gd name="connsiteY134" fmla="*/ 195944 h 316176"/>
              <a:gd name="connsiteX135" fmla="*/ 263409 w 330369"/>
              <a:gd name="connsiteY135" fmla="*/ 192521 h 316176"/>
              <a:gd name="connsiteX136" fmla="*/ 262268 w 330369"/>
              <a:gd name="connsiteY136" fmla="*/ 189327 h 316176"/>
              <a:gd name="connsiteX137" fmla="*/ 258390 w 330369"/>
              <a:gd name="connsiteY137" fmla="*/ 187958 h 316176"/>
              <a:gd name="connsiteX138" fmla="*/ 258390 w 330369"/>
              <a:gd name="connsiteY138" fmla="*/ 187958 h 316176"/>
              <a:gd name="connsiteX139" fmla="*/ 251203 w 330369"/>
              <a:gd name="connsiteY139" fmla="*/ 187958 h 316176"/>
              <a:gd name="connsiteX140" fmla="*/ 248579 w 330369"/>
              <a:gd name="connsiteY140" fmla="*/ 187958 h 316176"/>
              <a:gd name="connsiteX141" fmla="*/ 248579 w 330369"/>
              <a:gd name="connsiteY141" fmla="*/ 165030 h 316176"/>
              <a:gd name="connsiteX142" fmla="*/ 261013 w 330369"/>
              <a:gd name="connsiteY142" fmla="*/ 165030 h 316176"/>
              <a:gd name="connsiteX143" fmla="*/ 283942 w 330369"/>
              <a:gd name="connsiteY143" fmla="*/ 165030 h 316176"/>
              <a:gd name="connsiteX144" fmla="*/ 286566 w 330369"/>
              <a:gd name="connsiteY144" fmla="*/ 166399 h 316176"/>
              <a:gd name="connsiteX145" fmla="*/ 315883 w 330369"/>
              <a:gd name="connsiteY145" fmla="*/ 216933 h 316176"/>
              <a:gd name="connsiteX146" fmla="*/ 317365 w 330369"/>
              <a:gd name="connsiteY146" fmla="*/ 219557 h 316176"/>
              <a:gd name="connsiteX147" fmla="*/ 317365 w 330369"/>
              <a:gd name="connsiteY147" fmla="*/ 219785 h 316176"/>
              <a:gd name="connsiteX148" fmla="*/ 65948 w 330369"/>
              <a:gd name="connsiteY148" fmla="*/ 219785 h 316176"/>
              <a:gd name="connsiteX149" fmla="*/ 67545 w 330369"/>
              <a:gd name="connsiteY149" fmla="*/ 216819 h 316176"/>
              <a:gd name="connsiteX150" fmla="*/ 71766 w 330369"/>
              <a:gd name="connsiteY150" fmla="*/ 209176 h 316176"/>
              <a:gd name="connsiteX151" fmla="*/ 80778 w 330369"/>
              <a:gd name="connsiteY151" fmla="*/ 193548 h 316176"/>
              <a:gd name="connsiteX152" fmla="*/ 95950 w 330369"/>
              <a:gd name="connsiteY152" fmla="*/ 167311 h 316176"/>
              <a:gd name="connsiteX153" fmla="*/ 100056 w 330369"/>
              <a:gd name="connsiteY153" fmla="*/ 164916 h 316176"/>
              <a:gd name="connsiteX154" fmla="*/ 100056 w 330369"/>
              <a:gd name="connsiteY154" fmla="*/ 164916 h 316176"/>
              <a:gd name="connsiteX155" fmla="*/ 131654 w 330369"/>
              <a:gd name="connsiteY155" fmla="*/ 164916 h 316176"/>
              <a:gd name="connsiteX156" fmla="*/ 133137 w 330369"/>
              <a:gd name="connsiteY156" fmla="*/ 165030 h 316176"/>
              <a:gd name="connsiteX157" fmla="*/ 133480 w 330369"/>
              <a:gd name="connsiteY157" fmla="*/ 165030 h 316176"/>
              <a:gd name="connsiteX158" fmla="*/ 133480 w 330369"/>
              <a:gd name="connsiteY158" fmla="*/ 187844 h 316176"/>
              <a:gd name="connsiteX159" fmla="*/ 24768 w 330369"/>
              <a:gd name="connsiteY159" fmla="*/ 86319 h 316176"/>
              <a:gd name="connsiteX160" fmla="*/ 21118 w 330369"/>
              <a:gd name="connsiteY160" fmla="*/ 85407 h 316176"/>
              <a:gd name="connsiteX161" fmla="*/ 11079 w 330369"/>
              <a:gd name="connsiteY161" fmla="*/ 80616 h 316176"/>
              <a:gd name="connsiteX162" fmla="*/ 9026 w 330369"/>
              <a:gd name="connsiteY162" fmla="*/ 78791 h 316176"/>
              <a:gd name="connsiteX163" fmla="*/ 9368 w 330369"/>
              <a:gd name="connsiteY163" fmla="*/ 76167 h 316176"/>
              <a:gd name="connsiteX164" fmla="*/ 23285 w 330369"/>
              <a:gd name="connsiteY164" fmla="*/ 46508 h 316176"/>
              <a:gd name="connsiteX165" fmla="*/ 39598 w 330369"/>
              <a:gd name="connsiteY165" fmla="*/ 11830 h 316176"/>
              <a:gd name="connsiteX166" fmla="*/ 41765 w 330369"/>
              <a:gd name="connsiteY166" fmla="*/ 9092 h 316176"/>
              <a:gd name="connsiteX167" fmla="*/ 42107 w 330369"/>
              <a:gd name="connsiteY167" fmla="*/ 9092 h 316176"/>
              <a:gd name="connsiteX168" fmla="*/ 42792 w 330369"/>
              <a:gd name="connsiteY168" fmla="*/ 9320 h 316176"/>
              <a:gd name="connsiteX169" fmla="*/ 42792 w 330369"/>
              <a:gd name="connsiteY169" fmla="*/ 9320 h 316176"/>
              <a:gd name="connsiteX170" fmla="*/ 46670 w 330369"/>
              <a:gd name="connsiteY170" fmla="*/ 11259 h 316176"/>
              <a:gd name="connsiteX171" fmla="*/ 56708 w 330369"/>
              <a:gd name="connsiteY171" fmla="*/ 16507 h 316176"/>
              <a:gd name="connsiteX172" fmla="*/ 56366 w 330369"/>
              <a:gd name="connsiteY172" fmla="*/ 20157 h 316176"/>
              <a:gd name="connsiteX173" fmla="*/ 56366 w 330369"/>
              <a:gd name="connsiteY173" fmla="*/ 20385 h 316176"/>
              <a:gd name="connsiteX174" fmla="*/ 43590 w 330369"/>
              <a:gd name="connsiteY174" fmla="*/ 47763 h 316176"/>
              <a:gd name="connsiteX175" fmla="*/ 38685 w 330369"/>
              <a:gd name="connsiteY175" fmla="*/ 58143 h 316176"/>
              <a:gd name="connsiteX176" fmla="*/ 32867 w 330369"/>
              <a:gd name="connsiteY176" fmla="*/ 70805 h 316176"/>
              <a:gd name="connsiteX177" fmla="*/ 27049 w 330369"/>
              <a:gd name="connsiteY177" fmla="*/ 83468 h 316176"/>
              <a:gd name="connsiteX178" fmla="*/ 24882 w 330369"/>
              <a:gd name="connsiteY178" fmla="*/ 86433 h 31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30369" h="316176">
                <a:moveTo>
                  <a:pt x="329685" y="224918"/>
                </a:moveTo>
                <a:cubicBezTo>
                  <a:pt x="329685" y="223663"/>
                  <a:pt x="329229" y="222295"/>
                  <a:pt x="328545" y="220926"/>
                </a:cubicBezTo>
                <a:cubicBezTo>
                  <a:pt x="323069" y="211572"/>
                  <a:pt x="317708" y="202104"/>
                  <a:pt x="312232" y="192749"/>
                </a:cubicBezTo>
                <a:cubicBezTo>
                  <a:pt x="305730" y="181570"/>
                  <a:pt x="299342" y="170391"/>
                  <a:pt x="292840" y="159212"/>
                </a:cubicBezTo>
                <a:cubicBezTo>
                  <a:pt x="291471" y="156817"/>
                  <a:pt x="289760" y="155790"/>
                  <a:pt x="287136" y="155790"/>
                </a:cubicBezTo>
                <a:lnTo>
                  <a:pt x="287136" y="155790"/>
                </a:lnTo>
                <a:cubicBezTo>
                  <a:pt x="282459" y="155790"/>
                  <a:pt x="277896" y="155790"/>
                  <a:pt x="273219" y="155790"/>
                </a:cubicBezTo>
                <a:cubicBezTo>
                  <a:pt x="271166" y="155790"/>
                  <a:pt x="269113" y="155790"/>
                  <a:pt x="267173" y="155790"/>
                </a:cubicBezTo>
                <a:cubicBezTo>
                  <a:pt x="262953" y="155790"/>
                  <a:pt x="258846" y="155790"/>
                  <a:pt x="254511" y="155790"/>
                </a:cubicBezTo>
                <a:lnTo>
                  <a:pt x="248579" y="155790"/>
                </a:lnTo>
                <a:lnTo>
                  <a:pt x="248579" y="125218"/>
                </a:lnTo>
                <a:cubicBezTo>
                  <a:pt x="248579" y="112784"/>
                  <a:pt x="248579" y="100350"/>
                  <a:pt x="248579" y="87916"/>
                </a:cubicBezTo>
                <a:cubicBezTo>
                  <a:pt x="248579" y="77536"/>
                  <a:pt x="241165" y="69893"/>
                  <a:pt x="231126" y="69893"/>
                </a:cubicBezTo>
                <a:lnTo>
                  <a:pt x="231126" y="69893"/>
                </a:lnTo>
                <a:cubicBezTo>
                  <a:pt x="212304" y="69893"/>
                  <a:pt x="193368" y="69893"/>
                  <a:pt x="174546" y="69893"/>
                </a:cubicBezTo>
                <a:lnTo>
                  <a:pt x="174546" y="69893"/>
                </a:lnTo>
                <a:cubicBezTo>
                  <a:pt x="172721" y="69893"/>
                  <a:pt x="171694" y="69322"/>
                  <a:pt x="170782" y="67954"/>
                </a:cubicBezTo>
                <a:cubicBezTo>
                  <a:pt x="167588" y="63048"/>
                  <a:pt x="164279" y="58143"/>
                  <a:pt x="161199" y="53466"/>
                </a:cubicBezTo>
                <a:lnTo>
                  <a:pt x="160287" y="52097"/>
                </a:lnTo>
                <a:cubicBezTo>
                  <a:pt x="153328" y="41717"/>
                  <a:pt x="143974" y="36013"/>
                  <a:pt x="132567" y="35101"/>
                </a:cubicBezTo>
                <a:cubicBezTo>
                  <a:pt x="115570" y="33732"/>
                  <a:pt x="101881" y="32933"/>
                  <a:pt x="89219" y="32591"/>
                </a:cubicBezTo>
                <a:cubicBezTo>
                  <a:pt x="82261" y="32363"/>
                  <a:pt x="76557" y="29625"/>
                  <a:pt x="70397" y="26773"/>
                </a:cubicBezTo>
                <a:cubicBezTo>
                  <a:pt x="68572" y="25975"/>
                  <a:pt x="66747" y="25062"/>
                  <a:pt x="64922" y="24264"/>
                </a:cubicBezTo>
                <a:lnTo>
                  <a:pt x="64922" y="23921"/>
                </a:lnTo>
                <a:cubicBezTo>
                  <a:pt x="64922" y="23921"/>
                  <a:pt x="65264" y="23237"/>
                  <a:pt x="65378" y="23009"/>
                </a:cubicBezTo>
                <a:cubicBezTo>
                  <a:pt x="68458" y="15480"/>
                  <a:pt x="66177" y="9776"/>
                  <a:pt x="58876" y="6468"/>
                </a:cubicBezTo>
                <a:cubicBezTo>
                  <a:pt x="56252" y="5213"/>
                  <a:pt x="53514" y="3959"/>
                  <a:pt x="50891" y="2704"/>
                </a:cubicBezTo>
                <a:lnTo>
                  <a:pt x="48153" y="1449"/>
                </a:lnTo>
                <a:cubicBezTo>
                  <a:pt x="41309" y="-1745"/>
                  <a:pt x="34920" y="422"/>
                  <a:pt x="31840" y="7153"/>
                </a:cubicBezTo>
                <a:cubicBezTo>
                  <a:pt x="21460" y="29169"/>
                  <a:pt x="11193" y="51071"/>
                  <a:pt x="1383" y="72288"/>
                </a:cubicBezTo>
                <a:cubicBezTo>
                  <a:pt x="-1697" y="78791"/>
                  <a:pt x="470" y="84950"/>
                  <a:pt x="6859" y="88259"/>
                </a:cubicBezTo>
                <a:cubicBezTo>
                  <a:pt x="9938" y="89856"/>
                  <a:pt x="13247" y="91338"/>
                  <a:pt x="16441" y="92821"/>
                </a:cubicBezTo>
                <a:lnTo>
                  <a:pt x="19064" y="94076"/>
                </a:lnTo>
                <a:cubicBezTo>
                  <a:pt x="25567" y="97042"/>
                  <a:pt x="31726" y="94875"/>
                  <a:pt x="35034" y="88487"/>
                </a:cubicBezTo>
                <a:cubicBezTo>
                  <a:pt x="35491" y="87574"/>
                  <a:pt x="35947" y="86662"/>
                  <a:pt x="36517" y="85635"/>
                </a:cubicBezTo>
                <a:lnTo>
                  <a:pt x="36746" y="85065"/>
                </a:lnTo>
                <a:lnTo>
                  <a:pt x="41309" y="87232"/>
                </a:lnTo>
                <a:cubicBezTo>
                  <a:pt x="46556" y="89627"/>
                  <a:pt x="51575" y="92023"/>
                  <a:pt x="56708" y="94419"/>
                </a:cubicBezTo>
                <a:cubicBezTo>
                  <a:pt x="66062" y="98753"/>
                  <a:pt x="75188" y="100921"/>
                  <a:pt x="84314" y="100921"/>
                </a:cubicBezTo>
                <a:cubicBezTo>
                  <a:pt x="84770" y="100921"/>
                  <a:pt x="85113" y="100921"/>
                  <a:pt x="85569" y="100921"/>
                </a:cubicBezTo>
                <a:cubicBezTo>
                  <a:pt x="94353" y="100693"/>
                  <a:pt x="103022" y="102746"/>
                  <a:pt x="112262" y="107195"/>
                </a:cubicBezTo>
                <a:cubicBezTo>
                  <a:pt x="117281" y="109590"/>
                  <a:pt x="122415" y="111986"/>
                  <a:pt x="127434" y="114267"/>
                </a:cubicBezTo>
                <a:cubicBezTo>
                  <a:pt x="129601" y="115294"/>
                  <a:pt x="131769" y="116321"/>
                  <a:pt x="134050" y="117347"/>
                </a:cubicBezTo>
                <a:lnTo>
                  <a:pt x="134050" y="155790"/>
                </a:lnTo>
                <a:lnTo>
                  <a:pt x="133366" y="155790"/>
                </a:lnTo>
                <a:cubicBezTo>
                  <a:pt x="132681" y="155790"/>
                  <a:pt x="131997" y="155790"/>
                  <a:pt x="131426" y="155790"/>
                </a:cubicBezTo>
                <a:lnTo>
                  <a:pt x="121844" y="155790"/>
                </a:lnTo>
                <a:cubicBezTo>
                  <a:pt x="113745" y="155790"/>
                  <a:pt x="105418" y="155904"/>
                  <a:pt x="97204" y="155904"/>
                </a:cubicBezTo>
                <a:lnTo>
                  <a:pt x="97204" y="155904"/>
                </a:lnTo>
                <a:cubicBezTo>
                  <a:pt x="94124" y="155904"/>
                  <a:pt x="91957" y="157159"/>
                  <a:pt x="90360" y="159897"/>
                </a:cubicBezTo>
                <a:cubicBezTo>
                  <a:pt x="83516" y="171874"/>
                  <a:pt x="76557" y="183852"/>
                  <a:pt x="69713" y="195830"/>
                </a:cubicBezTo>
                <a:cubicBezTo>
                  <a:pt x="64922" y="204157"/>
                  <a:pt x="60131" y="212484"/>
                  <a:pt x="55340" y="220812"/>
                </a:cubicBezTo>
                <a:cubicBezTo>
                  <a:pt x="54427" y="222295"/>
                  <a:pt x="53971" y="223663"/>
                  <a:pt x="53971" y="224690"/>
                </a:cubicBezTo>
                <a:cubicBezTo>
                  <a:pt x="53971" y="229937"/>
                  <a:pt x="53971" y="235299"/>
                  <a:pt x="53971" y="240432"/>
                </a:cubicBezTo>
                <a:lnTo>
                  <a:pt x="53971" y="245451"/>
                </a:lnTo>
                <a:cubicBezTo>
                  <a:pt x="53971" y="248189"/>
                  <a:pt x="55568" y="249786"/>
                  <a:pt x="58419" y="250014"/>
                </a:cubicBezTo>
                <a:cubicBezTo>
                  <a:pt x="59903" y="250128"/>
                  <a:pt x="61386" y="250014"/>
                  <a:pt x="62868" y="250014"/>
                </a:cubicBezTo>
                <a:lnTo>
                  <a:pt x="64123" y="250014"/>
                </a:lnTo>
                <a:cubicBezTo>
                  <a:pt x="69371" y="250014"/>
                  <a:pt x="74618" y="250014"/>
                  <a:pt x="79979" y="250014"/>
                </a:cubicBezTo>
                <a:lnTo>
                  <a:pt x="87736" y="250014"/>
                </a:lnTo>
                <a:lnTo>
                  <a:pt x="87736" y="253779"/>
                </a:lnTo>
                <a:cubicBezTo>
                  <a:pt x="87736" y="272258"/>
                  <a:pt x="87736" y="290852"/>
                  <a:pt x="87736" y="309332"/>
                </a:cubicBezTo>
                <a:cubicBezTo>
                  <a:pt x="87736" y="315036"/>
                  <a:pt x="88877" y="316177"/>
                  <a:pt x="94581" y="316177"/>
                </a:cubicBezTo>
                <a:lnTo>
                  <a:pt x="124696" y="316177"/>
                </a:lnTo>
                <a:cubicBezTo>
                  <a:pt x="139754" y="316177"/>
                  <a:pt x="154811" y="316177"/>
                  <a:pt x="169869" y="316177"/>
                </a:cubicBezTo>
                <a:lnTo>
                  <a:pt x="289532" y="316177"/>
                </a:lnTo>
                <a:cubicBezTo>
                  <a:pt x="295463" y="316177"/>
                  <a:pt x="296718" y="315036"/>
                  <a:pt x="296718" y="309218"/>
                </a:cubicBezTo>
                <a:cubicBezTo>
                  <a:pt x="296718" y="290510"/>
                  <a:pt x="296718" y="271688"/>
                  <a:pt x="296718" y="252980"/>
                </a:cubicBezTo>
                <a:lnTo>
                  <a:pt x="296718" y="249900"/>
                </a:lnTo>
                <a:lnTo>
                  <a:pt x="303334" y="249900"/>
                </a:lnTo>
                <a:cubicBezTo>
                  <a:pt x="310407" y="249900"/>
                  <a:pt x="317251" y="249900"/>
                  <a:pt x="324210" y="249900"/>
                </a:cubicBezTo>
                <a:lnTo>
                  <a:pt x="324210" y="249900"/>
                </a:lnTo>
                <a:cubicBezTo>
                  <a:pt x="328773" y="249900"/>
                  <a:pt x="330370" y="248417"/>
                  <a:pt x="330370" y="243968"/>
                </a:cubicBezTo>
                <a:cubicBezTo>
                  <a:pt x="330370" y="237694"/>
                  <a:pt x="330370" y="231078"/>
                  <a:pt x="330370" y="224576"/>
                </a:cubicBezTo>
                <a:close/>
                <a:moveTo>
                  <a:pt x="286908" y="250471"/>
                </a:moveTo>
                <a:lnTo>
                  <a:pt x="286908" y="307165"/>
                </a:lnTo>
                <a:lnTo>
                  <a:pt x="96178" y="307165"/>
                </a:lnTo>
                <a:lnTo>
                  <a:pt x="96178" y="250471"/>
                </a:lnTo>
                <a:lnTo>
                  <a:pt x="286908" y="250471"/>
                </a:lnTo>
                <a:close/>
                <a:moveTo>
                  <a:pt x="320560" y="229025"/>
                </a:moveTo>
                <a:lnTo>
                  <a:pt x="320560" y="241003"/>
                </a:lnTo>
                <a:lnTo>
                  <a:pt x="62640" y="241003"/>
                </a:lnTo>
                <a:lnTo>
                  <a:pt x="62640" y="229025"/>
                </a:lnTo>
                <a:lnTo>
                  <a:pt x="320560" y="229025"/>
                </a:lnTo>
                <a:close/>
                <a:moveTo>
                  <a:pt x="239111" y="166855"/>
                </a:moveTo>
                <a:lnTo>
                  <a:pt x="239111" y="187616"/>
                </a:lnTo>
                <a:lnTo>
                  <a:pt x="142948" y="187616"/>
                </a:lnTo>
                <a:lnTo>
                  <a:pt x="142948" y="116777"/>
                </a:lnTo>
                <a:cubicBezTo>
                  <a:pt x="148880" y="115066"/>
                  <a:pt x="153328" y="111529"/>
                  <a:pt x="156294" y="106282"/>
                </a:cubicBezTo>
                <a:cubicBezTo>
                  <a:pt x="159260" y="101149"/>
                  <a:pt x="158690" y="95902"/>
                  <a:pt x="154811" y="91909"/>
                </a:cubicBezTo>
                <a:cubicBezTo>
                  <a:pt x="152644" y="89627"/>
                  <a:pt x="150248" y="87574"/>
                  <a:pt x="147853" y="85407"/>
                </a:cubicBezTo>
                <a:cubicBezTo>
                  <a:pt x="146826" y="84494"/>
                  <a:pt x="145914" y="83696"/>
                  <a:pt x="144887" y="82783"/>
                </a:cubicBezTo>
                <a:cubicBezTo>
                  <a:pt x="146484" y="80502"/>
                  <a:pt x="148880" y="79247"/>
                  <a:pt x="151617" y="79133"/>
                </a:cubicBezTo>
                <a:cubicBezTo>
                  <a:pt x="180592" y="79133"/>
                  <a:pt x="206030" y="79133"/>
                  <a:pt x="229187" y="79133"/>
                </a:cubicBezTo>
                <a:cubicBezTo>
                  <a:pt x="235575" y="79133"/>
                  <a:pt x="239111" y="82783"/>
                  <a:pt x="239111" y="89285"/>
                </a:cubicBezTo>
                <a:cubicBezTo>
                  <a:pt x="239111" y="115066"/>
                  <a:pt x="239111" y="140960"/>
                  <a:pt x="239111" y="166855"/>
                </a:cubicBezTo>
                <a:close/>
                <a:moveTo>
                  <a:pt x="158462" y="70007"/>
                </a:moveTo>
                <a:cubicBezTo>
                  <a:pt x="149906" y="70007"/>
                  <a:pt x="140894" y="69779"/>
                  <a:pt x="135761" y="79133"/>
                </a:cubicBezTo>
                <a:lnTo>
                  <a:pt x="112262" y="68182"/>
                </a:lnTo>
                <a:cubicBezTo>
                  <a:pt x="111692" y="67839"/>
                  <a:pt x="111007" y="67611"/>
                  <a:pt x="110437" y="67269"/>
                </a:cubicBezTo>
                <a:cubicBezTo>
                  <a:pt x="108954" y="66585"/>
                  <a:pt x="107471" y="65900"/>
                  <a:pt x="105988" y="65216"/>
                </a:cubicBezTo>
                <a:cubicBezTo>
                  <a:pt x="102908" y="63961"/>
                  <a:pt x="100513" y="64759"/>
                  <a:pt x="99372" y="67269"/>
                </a:cubicBezTo>
                <a:cubicBezTo>
                  <a:pt x="98231" y="69893"/>
                  <a:pt x="99258" y="72174"/>
                  <a:pt x="102338" y="73543"/>
                </a:cubicBezTo>
                <a:cubicBezTo>
                  <a:pt x="105304" y="74912"/>
                  <a:pt x="108384" y="76281"/>
                  <a:pt x="111349" y="77764"/>
                </a:cubicBezTo>
                <a:cubicBezTo>
                  <a:pt x="119449" y="81528"/>
                  <a:pt x="127776" y="85293"/>
                  <a:pt x="135875" y="89285"/>
                </a:cubicBezTo>
                <a:cubicBezTo>
                  <a:pt x="139525" y="91110"/>
                  <a:pt x="142834" y="93506"/>
                  <a:pt x="146142" y="95902"/>
                </a:cubicBezTo>
                <a:lnTo>
                  <a:pt x="147511" y="96928"/>
                </a:lnTo>
                <a:cubicBezTo>
                  <a:pt x="149336" y="98297"/>
                  <a:pt x="149564" y="100122"/>
                  <a:pt x="147967" y="102518"/>
                </a:cubicBezTo>
                <a:cubicBezTo>
                  <a:pt x="144773" y="107537"/>
                  <a:pt x="138043" y="109476"/>
                  <a:pt x="132453" y="106967"/>
                </a:cubicBezTo>
                <a:cubicBezTo>
                  <a:pt x="127206" y="104571"/>
                  <a:pt x="120361" y="101377"/>
                  <a:pt x="113403" y="98069"/>
                </a:cubicBezTo>
                <a:cubicBezTo>
                  <a:pt x="105190" y="94076"/>
                  <a:pt x="96520" y="92023"/>
                  <a:pt x="87508" y="92023"/>
                </a:cubicBezTo>
                <a:cubicBezTo>
                  <a:pt x="87280" y="92023"/>
                  <a:pt x="86938" y="92023"/>
                  <a:pt x="86710" y="92023"/>
                </a:cubicBezTo>
                <a:cubicBezTo>
                  <a:pt x="76785" y="92023"/>
                  <a:pt x="67659" y="89970"/>
                  <a:pt x="58762" y="85749"/>
                </a:cubicBezTo>
                <a:cubicBezTo>
                  <a:pt x="54199" y="83582"/>
                  <a:pt x="49522" y="81414"/>
                  <a:pt x="44731" y="79133"/>
                </a:cubicBezTo>
                <a:lnTo>
                  <a:pt x="39826" y="76851"/>
                </a:lnTo>
                <a:lnTo>
                  <a:pt x="60473" y="32819"/>
                </a:lnTo>
                <a:cubicBezTo>
                  <a:pt x="60473" y="32819"/>
                  <a:pt x="61043" y="33047"/>
                  <a:pt x="61271" y="33161"/>
                </a:cubicBezTo>
                <a:cubicBezTo>
                  <a:pt x="62184" y="33504"/>
                  <a:pt x="63097" y="33960"/>
                  <a:pt x="63895" y="34416"/>
                </a:cubicBezTo>
                <a:cubicBezTo>
                  <a:pt x="75074" y="40918"/>
                  <a:pt x="87052" y="42173"/>
                  <a:pt x="97318" y="42401"/>
                </a:cubicBezTo>
                <a:cubicBezTo>
                  <a:pt x="107243" y="42629"/>
                  <a:pt x="117395" y="43428"/>
                  <a:pt x="127206" y="44112"/>
                </a:cubicBezTo>
                <a:lnTo>
                  <a:pt x="130057" y="44340"/>
                </a:lnTo>
                <a:cubicBezTo>
                  <a:pt x="138841" y="44911"/>
                  <a:pt x="145800" y="48903"/>
                  <a:pt x="150933" y="56090"/>
                </a:cubicBezTo>
                <a:cubicBezTo>
                  <a:pt x="153214" y="59284"/>
                  <a:pt x="155382" y="62592"/>
                  <a:pt x="157663" y="66014"/>
                </a:cubicBezTo>
                <a:cubicBezTo>
                  <a:pt x="158576" y="67383"/>
                  <a:pt x="159488" y="68752"/>
                  <a:pt x="160401" y="70121"/>
                </a:cubicBezTo>
                <a:lnTo>
                  <a:pt x="158119" y="70121"/>
                </a:lnTo>
                <a:close/>
                <a:moveTo>
                  <a:pt x="133594" y="187958"/>
                </a:moveTo>
                <a:cubicBezTo>
                  <a:pt x="130856" y="187958"/>
                  <a:pt x="128004" y="187958"/>
                  <a:pt x="125152" y="187958"/>
                </a:cubicBezTo>
                <a:lnTo>
                  <a:pt x="125152" y="187958"/>
                </a:lnTo>
                <a:cubicBezTo>
                  <a:pt x="123099" y="187958"/>
                  <a:pt x="121502" y="188529"/>
                  <a:pt x="120475" y="189555"/>
                </a:cubicBezTo>
                <a:cubicBezTo>
                  <a:pt x="119677" y="190354"/>
                  <a:pt x="119334" y="191381"/>
                  <a:pt x="119334" y="192635"/>
                </a:cubicBezTo>
                <a:cubicBezTo>
                  <a:pt x="119334" y="195373"/>
                  <a:pt x="121502" y="196970"/>
                  <a:pt x="125038" y="196970"/>
                </a:cubicBezTo>
                <a:lnTo>
                  <a:pt x="253256" y="196970"/>
                </a:lnTo>
                <a:cubicBezTo>
                  <a:pt x="253941" y="196970"/>
                  <a:pt x="254739" y="196970"/>
                  <a:pt x="255424" y="196970"/>
                </a:cubicBezTo>
                <a:cubicBezTo>
                  <a:pt x="256336" y="196970"/>
                  <a:pt x="257249" y="196970"/>
                  <a:pt x="258162" y="196970"/>
                </a:cubicBezTo>
                <a:cubicBezTo>
                  <a:pt x="259644" y="196970"/>
                  <a:pt x="261013" y="196628"/>
                  <a:pt x="261812" y="195944"/>
                </a:cubicBezTo>
                <a:cubicBezTo>
                  <a:pt x="262839" y="195145"/>
                  <a:pt x="263409" y="194004"/>
                  <a:pt x="263409" y="192521"/>
                </a:cubicBezTo>
                <a:cubicBezTo>
                  <a:pt x="263409" y="191152"/>
                  <a:pt x="263067" y="190126"/>
                  <a:pt x="262268" y="189327"/>
                </a:cubicBezTo>
                <a:cubicBezTo>
                  <a:pt x="261356" y="188415"/>
                  <a:pt x="259987" y="187958"/>
                  <a:pt x="258390" y="187958"/>
                </a:cubicBezTo>
                <a:lnTo>
                  <a:pt x="258390" y="187958"/>
                </a:lnTo>
                <a:cubicBezTo>
                  <a:pt x="255994" y="187958"/>
                  <a:pt x="253599" y="187958"/>
                  <a:pt x="251203" y="187958"/>
                </a:cubicBezTo>
                <a:lnTo>
                  <a:pt x="248579" y="187958"/>
                </a:lnTo>
                <a:lnTo>
                  <a:pt x="248579" y="165030"/>
                </a:lnTo>
                <a:lnTo>
                  <a:pt x="261013" y="165030"/>
                </a:lnTo>
                <a:cubicBezTo>
                  <a:pt x="268542" y="165030"/>
                  <a:pt x="276299" y="164916"/>
                  <a:pt x="283942" y="165030"/>
                </a:cubicBezTo>
                <a:cubicBezTo>
                  <a:pt x="284855" y="165030"/>
                  <a:pt x="286110" y="165714"/>
                  <a:pt x="286566" y="166399"/>
                </a:cubicBezTo>
                <a:cubicBezTo>
                  <a:pt x="296376" y="183167"/>
                  <a:pt x="306301" y="200278"/>
                  <a:pt x="315883" y="216933"/>
                </a:cubicBezTo>
                <a:lnTo>
                  <a:pt x="317365" y="219557"/>
                </a:lnTo>
                <a:lnTo>
                  <a:pt x="317365" y="219785"/>
                </a:lnTo>
                <a:lnTo>
                  <a:pt x="65948" y="219785"/>
                </a:lnTo>
                <a:cubicBezTo>
                  <a:pt x="66519" y="218758"/>
                  <a:pt x="67089" y="217732"/>
                  <a:pt x="67545" y="216819"/>
                </a:cubicBezTo>
                <a:cubicBezTo>
                  <a:pt x="69028" y="214195"/>
                  <a:pt x="70397" y="211686"/>
                  <a:pt x="71766" y="209176"/>
                </a:cubicBezTo>
                <a:cubicBezTo>
                  <a:pt x="74732" y="203929"/>
                  <a:pt x="77812" y="198795"/>
                  <a:pt x="80778" y="193548"/>
                </a:cubicBezTo>
                <a:cubicBezTo>
                  <a:pt x="85797" y="184993"/>
                  <a:pt x="90930" y="176095"/>
                  <a:pt x="95950" y="167311"/>
                </a:cubicBezTo>
                <a:cubicBezTo>
                  <a:pt x="96976" y="165486"/>
                  <a:pt x="98117" y="164916"/>
                  <a:pt x="100056" y="164916"/>
                </a:cubicBezTo>
                <a:lnTo>
                  <a:pt x="100056" y="164916"/>
                </a:lnTo>
                <a:cubicBezTo>
                  <a:pt x="110551" y="164916"/>
                  <a:pt x="121046" y="164916"/>
                  <a:pt x="131654" y="164916"/>
                </a:cubicBezTo>
                <a:cubicBezTo>
                  <a:pt x="132111" y="164916"/>
                  <a:pt x="132567" y="164916"/>
                  <a:pt x="133137" y="165030"/>
                </a:cubicBezTo>
                <a:lnTo>
                  <a:pt x="133480" y="165030"/>
                </a:lnTo>
                <a:lnTo>
                  <a:pt x="133480" y="187844"/>
                </a:lnTo>
                <a:close/>
                <a:moveTo>
                  <a:pt x="24768" y="86319"/>
                </a:moveTo>
                <a:cubicBezTo>
                  <a:pt x="23970" y="86662"/>
                  <a:pt x="22829" y="86205"/>
                  <a:pt x="21118" y="85407"/>
                </a:cubicBezTo>
                <a:cubicBezTo>
                  <a:pt x="17809" y="83810"/>
                  <a:pt x="14387" y="82213"/>
                  <a:pt x="11079" y="80616"/>
                </a:cubicBezTo>
                <a:cubicBezTo>
                  <a:pt x="9938" y="80045"/>
                  <a:pt x="9254" y="79475"/>
                  <a:pt x="9026" y="78791"/>
                </a:cubicBezTo>
                <a:cubicBezTo>
                  <a:pt x="8798" y="78106"/>
                  <a:pt x="8912" y="77194"/>
                  <a:pt x="9368" y="76167"/>
                </a:cubicBezTo>
                <a:cubicBezTo>
                  <a:pt x="14045" y="66242"/>
                  <a:pt x="18608" y="56432"/>
                  <a:pt x="23285" y="46508"/>
                </a:cubicBezTo>
                <a:cubicBezTo>
                  <a:pt x="28646" y="34987"/>
                  <a:pt x="34122" y="23465"/>
                  <a:pt x="39598" y="11830"/>
                </a:cubicBezTo>
                <a:cubicBezTo>
                  <a:pt x="40054" y="11031"/>
                  <a:pt x="40738" y="9434"/>
                  <a:pt x="41765" y="9092"/>
                </a:cubicBezTo>
                <a:cubicBezTo>
                  <a:pt x="41879" y="9092"/>
                  <a:pt x="41993" y="9092"/>
                  <a:pt x="42107" y="9092"/>
                </a:cubicBezTo>
                <a:cubicBezTo>
                  <a:pt x="42335" y="9092"/>
                  <a:pt x="42563" y="9092"/>
                  <a:pt x="42792" y="9320"/>
                </a:cubicBezTo>
                <a:lnTo>
                  <a:pt x="42792" y="9320"/>
                </a:lnTo>
                <a:cubicBezTo>
                  <a:pt x="44160" y="10004"/>
                  <a:pt x="45415" y="10689"/>
                  <a:pt x="46670" y="11259"/>
                </a:cubicBezTo>
                <a:cubicBezTo>
                  <a:pt x="50206" y="12970"/>
                  <a:pt x="53286" y="14453"/>
                  <a:pt x="56708" y="16507"/>
                </a:cubicBezTo>
                <a:cubicBezTo>
                  <a:pt x="57735" y="17077"/>
                  <a:pt x="57165" y="18674"/>
                  <a:pt x="56366" y="20157"/>
                </a:cubicBezTo>
                <a:lnTo>
                  <a:pt x="56366" y="20385"/>
                </a:lnTo>
                <a:cubicBezTo>
                  <a:pt x="52145" y="29511"/>
                  <a:pt x="47811" y="38751"/>
                  <a:pt x="43590" y="47763"/>
                </a:cubicBezTo>
                <a:cubicBezTo>
                  <a:pt x="41993" y="51185"/>
                  <a:pt x="40396" y="54721"/>
                  <a:pt x="38685" y="58143"/>
                </a:cubicBezTo>
                <a:cubicBezTo>
                  <a:pt x="36746" y="62364"/>
                  <a:pt x="34806" y="66585"/>
                  <a:pt x="32867" y="70805"/>
                </a:cubicBezTo>
                <a:cubicBezTo>
                  <a:pt x="30928" y="75026"/>
                  <a:pt x="28989" y="79247"/>
                  <a:pt x="27049" y="83468"/>
                </a:cubicBezTo>
                <a:cubicBezTo>
                  <a:pt x="26137" y="85407"/>
                  <a:pt x="25567" y="86205"/>
                  <a:pt x="24882" y="86433"/>
                </a:cubicBezTo>
                <a:close/>
              </a:path>
            </a:pathLst>
          </a:custGeom>
          <a:solidFill>
            <a:schemeClr val="accent5"/>
          </a:solidFill>
          <a:ln w="11403" cap="flat">
            <a:noFill/>
            <a:prstDash val="solid"/>
            <a:miter/>
          </a:ln>
        </p:spPr>
        <p:txBody>
          <a:bodyPr rtlCol="0" anchor="ctr"/>
          <a:lstStyle/>
          <a:p>
            <a:pPr defTabSz="466522"/>
            <a:endParaRPr lang="en-AU" sz="1000">
              <a:solidFill>
                <a:prstClr val="black"/>
              </a:solidFill>
            </a:endParaRPr>
          </a:p>
        </p:txBody>
      </p:sp>
      <p:cxnSp>
        <p:nvCxnSpPr>
          <p:cNvPr id="57" name="Straight Connector 56">
            <a:extLst>
              <a:ext uri="{FF2B5EF4-FFF2-40B4-BE49-F238E27FC236}">
                <a16:creationId xmlns:a16="http://schemas.microsoft.com/office/drawing/2014/main" id="{D83A75D0-FE5D-8618-8ADC-79D9E84C130B}"/>
              </a:ext>
              <a:ext uri="{C183D7F6-B498-43B3-948B-1728B52AA6E4}">
                <adec:decorative xmlns:adec="http://schemas.microsoft.com/office/drawing/2017/decorative" val="1"/>
              </a:ext>
            </a:extLst>
          </p:cNvPr>
          <p:cNvCxnSpPr>
            <a:cxnSpLocks/>
            <a:stCxn id="54" idx="6"/>
            <a:endCxn id="130" idx="2"/>
          </p:cNvCxnSpPr>
          <p:nvPr/>
        </p:nvCxnSpPr>
        <p:spPr>
          <a:xfrm>
            <a:off x="3999578" y="2372613"/>
            <a:ext cx="1505064"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67F8E65-EC13-ED2D-D384-1D2F202C39A0}"/>
              </a:ext>
              <a:ext uri="{C183D7F6-B498-43B3-948B-1728B52AA6E4}">
                <adec:decorative xmlns:adec="http://schemas.microsoft.com/office/drawing/2017/decorative" val="1"/>
              </a:ext>
            </a:extLst>
          </p:cNvPr>
          <p:cNvCxnSpPr>
            <a:cxnSpLocks/>
          </p:cNvCxnSpPr>
          <p:nvPr/>
        </p:nvCxnSpPr>
        <p:spPr>
          <a:xfrm>
            <a:off x="5721940" y="2372613"/>
            <a:ext cx="1016192"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DD125D7-2DE4-AB25-30A9-B23A8560131A}"/>
              </a:ext>
              <a:ext uri="{C183D7F6-B498-43B3-948B-1728B52AA6E4}">
                <adec:decorative xmlns:adec="http://schemas.microsoft.com/office/drawing/2017/decorative" val="1"/>
              </a:ext>
            </a:extLst>
          </p:cNvPr>
          <p:cNvCxnSpPr>
            <a:cxnSpLocks/>
          </p:cNvCxnSpPr>
          <p:nvPr/>
        </p:nvCxnSpPr>
        <p:spPr>
          <a:xfrm>
            <a:off x="6955430" y="2372613"/>
            <a:ext cx="1023177"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BD5B3BA-2C9F-358E-482D-DB3F455921AC}"/>
              </a:ext>
              <a:ext uri="{C183D7F6-B498-43B3-948B-1728B52AA6E4}">
                <adec:decorative xmlns:adec="http://schemas.microsoft.com/office/drawing/2017/decorative" val="1"/>
              </a:ext>
            </a:extLst>
          </p:cNvPr>
          <p:cNvCxnSpPr>
            <a:cxnSpLocks/>
            <a:endCxn id="49" idx="2"/>
          </p:cNvCxnSpPr>
          <p:nvPr/>
        </p:nvCxnSpPr>
        <p:spPr>
          <a:xfrm>
            <a:off x="8195905" y="2372613"/>
            <a:ext cx="1016194"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48B9B3B6-643E-9FC1-9C0D-A3C5D95AF245}"/>
              </a:ext>
              <a:ext uri="{C183D7F6-B498-43B3-948B-1728B52AA6E4}">
                <adec:decorative xmlns:adec="http://schemas.microsoft.com/office/drawing/2017/decorative" val="1"/>
              </a:ext>
            </a:extLst>
          </p:cNvPr>
          <p:cNvSpPr/>
          <p:nvPr/>
        </p:nvSpPr>
        <p:spPr>
          <a:xfrm>
            <a:off x="2422207" y="2263964"/>
            <a:ext cx="216000"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accent6"/>
                </a:solidFill>
              </a:rPr>
              <a:t>1</a:t>
            </a:r>
          </a:p>
        </p:txBody>
      </p:sp>
      <p:cxnSp>
        <p:nvCxnSpPr>
          <p:cNvPr id="63" name="Straight Connector 62">
            <a:extLst>
              <a:ext uri="{FF2B5EF4-FFF2-40B4-BE49-F238E27FC236}">
                <a16:creationId xmlns:a16="http://schemas.microsoft.com/office/drawing/2014/main" id="{56CAF3D2-5934-1881-3837-AD3A8F8447B8}"/>
              </a:ext>
              <a:ext uri="{C183D7F6-B498-43B3-948B-1728B52AA6E4}">
                <adec:decorative xmlns:adec="http://schemas.microsoft.com/office/drawing/2017/decorative" val="1"/>
              </a:ext>
            </a:extLst>
          </p:cNvPr>
          <p:cNvCxnSpPr>
            <a:cxnSpLocks/>
            <a:stCxn id="62" idx="4"/>
          </p:cNvCxnSpPr>
          <p:nvPr/>
        </p:nvCxnSpPr>
        <p:spPr>
          <a:xfrm>
            <a:off x="2530207" y="2481262"/>
            <a:ext cx="7397"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128" name="Graphic 10">
            <a:extLst>
              <a:ext uri="{FF2B5EF4-FFF2-40B4-BE49-F238E27FC236}">
                <a16:creationId xmlns:a16="http://schemas.microsoft.com/office/drawing/2014/main" id="{EC1E54CA-1864-2E64-433A-A7140E43E096}"/>
              </a:ext>
              <a:ext uri="{C183D7F6-B498-43B3-948B-1728B52AA6E4}">
                <adec:decorative xmlns:adec="http://schemas.microsoft.com/office/drawing/2017/decorative" val="1"/>
              </a:ext>
            </a:extLst>
          </p:cNvPr>
          <p:cNvGrpSpPr/>
          <p:nvPr/>
        </p:nvGrpSpPr>
        <p:grpSpPr>
          <a:xfrm>
            <a:off x="5717115" y="2650575"/>
            <a:ext cx="200727" cy="230280"/>
            <a:chOff x="4807186" y="1430349"/>
            <a:chExt cx="228146" cy="277996"/>
          </a:xfrm>
          <a:solidFill>
            <a:schemeClr val="accent5"/>
          </a:solidFill>
        </p:grpSpPr>
        <p:sp>
          <p:nvSpPr>
            <p:cNvPr id="134" name="Freeform: Shape 133">
              <a:extLst>
                <a:ext uri="{FF2B5EF4-FFF2-40B4-BE49-F238E27FC236}">
                  <a16:creationId xmlns:a16="http://schemas.microsoft.com/office/drawing/2014/main" id="{4269F8E0-3658-84F9-F9FF-809348C6BFDE}"/>
                </a:ext>
              </a:extLst>
            </p:cNvPr>
            <p:cNvSpPr/>
            <p:nvPr/>
          </p:nvSpPr>
          <p:spPr>
            <a:xfrm>
              <a:off x="4897988" y="1539288"/>
              <a:ext cx="87494" cy="10266"/>
            </a:xfrm>
            <a:custGeom>
              <a:avLst/>
              <a:gdLst>
                <a:gd name="connsiteX0" fmla="*/ 0 w 87494"/>
                <a:gd name="connsiteY0" fmla="*/ 5133 h 10266"/>
                <a:gd name="connsiteX1" fmla="*/ 4905 w 87494"/>
                <a:gd name="connsiteY1" fmla="*/ 10267 h 10266"/>
                <a:gd name="connsiteX2" fmla="*/ 82589 w 87494"/>
                <a:gd name="connsiteY2" fmla="*/ 10267 h 10266"/>
                <a:gd name="connsiteX3" fmla="*/ 87494 w 87494"/>
                <a:gd name="connsiteY3" fmla="*/ 5133 h 10266"/>
                <a:gd name="connsiteX4" fmla="*/ 82589 w 87494"/>
                <a:gd name="connsiteY4" fmla="*/ 0 h 10266"/>
                <a:gd name="connsiteX5" fmla="*/ 4905 w 87494"/>
                <a:gd name="connsiteY5" fmla="*/ 0 h 10266"/>
                <a:gd name="connsiteX6" fmla="*/ 0 w 87494"/>
                <a:gd name="connsiteY6" fmla="*/ 5133 h 1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4" h="10266">
                  <a:moveTo>
                    <a:pt x="0" y="5133"/>
                  </a:moveTo>
                  <a:cubicBezTo>
                    <a:pt x="0" y="6844"/>
                    <a:pt x="3308" y="10267"/>
                    <a:pt x="4905" y="10267"/>
                  </a:cubicBezTo>
                  <a:lnTo>
                    <a:pt x="82589" y="10267"/>
                  </a:lnTo>
                  <a:cubicBezTo>
                    <a:pt x="85897" y="10267"/>
                    <a:pt x="87494" y="6844"/>
                    <a:pt x="87494" y="5133"/>
                  </a:cubicBezTo>
                  <a:cubicBezTo>
                    <a:pt x="87494" y="1711"/>
                    <a:pt x="85897" y="0"/>
                    <a:pt x="82589" y="0"/>
                  </a:cubicBezTo>
                  <a:lnTo>
                    <a:pt x="4905" y="0"/>
                  </a:lnTo>
                  <a:cubicBezTo>
                    <a:pt x="3308" y="0"/>
                    <a:pt x="0" y="1711"/>
                    <a:pt x="0" y="5133"/>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5" name="Freeform: Shape 134">
              <a:extLst>
                <a:ext uri="{FF2B5EF4-FFF2-40B4-BE49-F238E27FC236}">
                  <a16:creationId xmlns:a16="http://schemas.microsoft.com/office/drawing/2014/main" id="{40C60892-1E77-7D63-4EF2-57A97F39A5B9}"/>
                </a:ext>
              </a:extLst>
            </p:cNvPr>
            <p:cNvSpPr/>
            <p:nvPr/>
          </p:nvSpPr>
          <p:spPr>
            <a:xfrm>
              <a:off x="4898103" y="1592218"/>
              <a:ext cx="87493" cy="10266"/>
            </a:xfrm>
            <a:custGeom>
              <a:avLst/>
              <a:gdLst>
                <a:gd name="connsiteX0" fmla="*/ 82589 w 87493"/>
                <a:gd name="connsiteY0" fmla="*/ 0 h 10266"/>
                <a:gd name="connsiteX1" fmla="*/ 4905 w 87493"/>
                <a:gd name="connsiteY1" fmla="*/ 0 h 10266"/>
                <a:gd name="connsiteX2" fmla="*/ 0 w 87493"/>
                <a:gd name="connsiteY2" fmla="*/ 5133 h 10266"/>
                <a:gd name="connsiteX3" fmla="*/ 4905 w 87493"/>
                <a:gd name="connsiteY3" fmla="*/ 10267 h 10266"/>
                <a:gd name="connsiteX4" fmla="*/ 82589 w 87493"/>
                <a:gd name="connsiteY4" fmla="*/ 10267 h 10266"/>
                <a:gd name="connsiteX5" fmla="*/ 87494 w 87493"/>
                <a:gd name="connsiteY5" fmla="*/ 5133 h 10266"/>
                <a:gd name="connsiteX6" fmla="*/ 82589 w 87493"/>
                <a:gd name="connsiteY6" fmla="*/ 0 h 1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3" h="10266">
                  <a:moveTo>
                    <a:pt x="82589" y="0"/>
                  </a:moveTo>
                  <a:lnTo>
                    <a:pt x="4905" y="0"/>
                  </a:lnTo>
                  <a:cubicBezTo>
                    <a:pt x="3308" y="0"/>
                    <a:pt x="0" y="1711"/>
                    <a:pt x="0" y="5133"/>
                  </a:cubicBezTo>
                  <a:cubicBezTo>
                    <a:pt x="0" y="8555"/>
                    <a:pt x="3308" y="10267"/>
                    <a:pt x="4905" y="10267"/>
                  </a:cubicBezTo>
                  <a:lnTo>
                    <a:pt x="82589" y="10267"/>
                  </a:lnTo>
                  <a:cubicBezTo>
                    <a:pt x="85897" y="10267"/>
                    <a:pt x="87494" y="8555"/>
                    <a:pt x="87494" y="5133"/>
                  </a:cubicBezTo>
                  <a:cubicBezTo>
                    <a:pt x="87494" y="1711"/>
                    <a:pt x="85897" y="0"/>
                    <a:pt x="82589" y="0"/>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6" name="Freeform: Shape 135">
              <a:extLst>
                <a:ext uri="{FF2B5EF4-FFF2-40B4-BE49-F238E27FC236}">
                  <a16:creationId xmlns:a16="http://schemas.microsoft.com/office/drawing/2014/main" id="{090954B8-8065-C10A-0687-69C0FAB6D9D4}"/>
                </a:ext>
              </a:extLst>
            </p:cNvPr>
            <p:cNvSpPr/>
            <p:nvPr/>
          </p:nvSpPr>
          <p:spPr>
            <a:xfrm>
              <a:off x="4898103" y="1645947"/>
              <a:ext cx="87493" cy="9582"/>
            </a:xfrm>
            <a:custGeom>
              <a:avLst/>
              <a:gdLst>
                <a:gd name="connsiteX0" fmla="*/ 82589 w 87493"/>
                <a:gd name="connsiteY0" fmla="*/ 0 h 9582"/>
                <a:gd name="connsiteX1" fmla="*/ 4905 w 87493"/>
                <a:gd name="connsiteY1" fmla="*/ 0 h 9582"/>
                <a:gd name="connsiteX2" fmla="*/ 0 w 87493"/>
                <a:gd name="connsiteY2" fmla="*/ 4791 h 9582"/>
                <a:gd name="connsiteX3" fmla="*/ 4905 w 87493"/>
                <a:gd name="connsiteY3" fmla="*/ 9582 h 9582"/>
                <a:gd name="connsiteX4" fmla="*/ 82589 w 87493"/>
                <a:gd name="connsiteY4" fmla="*/ 9582 h 9582"/>
                <a:gd name="connsiteX5" fmla="*/ 87494 w 87493"/>
                <a:gd name="connsiteY5" fmla="*/ 4791 h 9582"/>
                <a:gd name="connsiteX6" fmla="*/ 82589 w 87493"/>
                <a:gd name="connsiteY6" fmla="*/ 0 h 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3" h="9582">
                  <a:moveTo>
                    <a:pt x="82589" y="0"/>
                  </a:moveTo>
                  <a:lnTo>
                    <a:pt x="4905" y="0"/>
                  </a:lnTo>
                  <a:cubicBezTo>
                    <a:pt x="3308" y="0"/>
                    <a:pt x="0" y="3194"/>
                    <a:pt x="0" y="4791"/>
                  </a:cubicBezTo>
                  <a:cubicBezTo>
                    <a:pt x="0" y="7985"/>
                    <a:pt x="3308" y="9582"/>
                    <a:pt x="4905" y="9582"/>
                  </a:cubicBezTo>
                  <a:lnTo>
                    <a:pt x="82589" y="9582"/>
                  </a:lnTo>
                  <a:cubicBezTo>
                    <a:pt x="85897" y="9582"/>
                    <a:pt x="87494" y="7985"/>
                    <a:pt x="87494" y="4791"/>
                  </a:cubicBezTo>
                  <a:cubicBezTo>
                    <a:pt x="87494" y="3194"/>
                    <a:pt x="85897" y="0"/>
                    <a:pt x="82589" y="0"/>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7" name="Freeform: Shape 136">
              <a:extLst>
                <a:ext uri="{FF2B5EF4-FFF2-40B4-BE49-F238E27FC236}">
                  <a16:creationId xmlns:a16="http://schemas.microsoft.com/office/drawing/2014/main" id="{4F0E47E2-0B2B-8A7A-A542-289DC5F8EFC9}"/>
                </a:ext>
              </a:extLst>
            </p:cNvPr>
            <p:cNvSpPr/>
            <p:nvPr/>
          </p:nvSpPr>
          <p:spPr>
            <a:xfrm>
              <a:off x="4807186" y="1430349"/>
              <a:ext cx="228146" cy="277996"/>
            </a:xfrm>
            <a:custGeom>
              <a:avLst/>
              <a:gdLst>
                <a:gd name="connsiteX0" fmla="*/ 163695 w 228146"/>
                <a:gd name="connsiteY0" fmla="*/ 0 h 277996"/>
                <a:gd name="connsiteX1" fmla="*/ 24754 w 228146"/>
                <a:gd name="connsiteY1" fmla="*/ 0 h 277996"/>
                <a:gd name="connsiteX2" fmla="*/ 0 w 228146"/>
                <a:gd name="connsiteY2" fmla="*/ 23157 h 277996"/>
                <a:gd name="connsiteX3" fmla="*/ 0 w 228146"/>
                <a:gd name="connsiteY3" fmla="*/ 254839 h 277996"/>
                <a:gd name="connsiteX4" fmla="*/ 24754 w 228146"/>
                <a:gd name="connsiteY4" fmla="*/ 277996 h 277996"/>
                <a:gd name="connsiteX5" fmla="*/ 203392 w 228146"/>
                <a:gd name="connsiteY5" fmla="*/ 277996 h 277996"/>
                <a:gd name="connsiteX6" fmla="*/ 228146 w 228146"/>
                <a:gd name="connsiteY6" fmla="*/ 254839 h 277996"/>
                <a:gd name="connsiteX7" fmla="*/ 228146 w 228146"/>
                <a:gd name="connsiteY7" fmla="*/ 69470 h 277996"/>
                <a:gd name="connsiteX8" fmla="*/ 163695 w 228146"/>
                <a:gd name="connsiteY8" fmla="*/ 0 h 277996"/>
                <a:gd name="connsiteX9" fmla="*/ 216625 w 228146"/>
                <a:gd name="connsiteY9" fmla="*/ 254839 h 277996"/>
                <a:gd name="connsiteX10" fmla="*/ 203392 w 228146"/>
                <a:gd name="connsiteY10" fmla="*/ 268072 h 277996"/>
                <a:gd name="connsiteX11" fmla="*/ 24754 w 228146"/>
                <a:gd name="connsiteY11" fmla="*/ 268072 h 277996"/>
                <a:gd name="connsiteX12" fmla="*/ 9924 w 228146"/>
                <a:gd name="connsiteY12" fmla="*/ 254839 h 277996"/>
                <a:gd name="connsiteX13" fmla="*/ 9924 w 228146"/>
                <a:gd name="connsiteY13" fmla="*/ 23157 h 277996"/>
                <a:gd name="connsiteX14" fmla="*/ 24754 w 228146"/>
                <a:gd name="connsiteY14" fmla="*/ 9924 h 277996"/>
                <a:gd name="connsiteX15" fmla="*/ 140538 w 228146"/>
                <a:gd name="connsiteY15" fmla="*/ 9924 h 277996"/>
                <a:gd name="connsiteX16" fmla="*/ 140538 w 228146"/>
                <a:gd name="connsiteY16" fmla="*/ 74490 h 277996"/>
                <a:gd name="connsiteX17" fmla="*/ 152059 w 228146"/>
                <a:gd name="connsiteY17" fmla="*/ 86125 h 277996"/>
                <a:gd name="connsiteX18" fmla="*/ 216511 w 228146"/>
                <a:gd name="connsiteY18" fmla="*/ 86125 h 277996"/>
                <a:gd name="connsiteX19" fmla="*/ 216511 w 228146"/>
                <a:gd name="connsiteY19" fmla="*/ 254953 h 277996"/>
                <a:gd name="connsiteX20" fmla="*/ 150462 w 228146"/>
                <a:gd name="connsiteY20" fmla="*/ 76087 h 277996"/>
                <a:gd name="connsiteX21" fmla="*/ 150462 w 228146"/>
                <a:gd name="connsiteY21" fmla="*/ 9924 h 277996"/>
                <a:gd name="connsiteX22" fmla="*/ 158676 w 228146"/>
                <a:gd name="connsiteY22" fmla="*/ 9924 h 277996"/>
                <a:gd name="connsiteX23" fmla="*/ 218222 w 228146"/>
                <a:gd name="connsiteY23" fmla="*/ 76087 h 277996"/>
                <a:gd name="connsiteX24" fmla="*/ 150462 w 228146"/>
                <a:gd name="connsiteY24" fmla="*/ 76087 h 27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146" h="277996">
                  <a:moveTo>
                    <a:pt x="163695" y="0"/>
                  </a:moveTo>
                  <a:lnTo>
                    <a:pt x="24754" y="0"/>
                  </a:lnTo>
                  <a:cubicBezTo>
                    <a:pt x="11521" y="0"/>
                    <a:pt x="0" y="9924"/>
                    <a:pt x="0" y="23157"/>
                  </a:cubicBezTo>
                  <a:lnTo>
                    <a:pt x="0" y="254839"/>
                  </a:lnTo>
                  <a:cubicBezTo>
                    <a:pt x="0" y="268072"/>
                    <a:pt x="11521" y="277996"/>
                    <a:pt x="24754" y="277996"/>
                  </a:cubicBezTo>
                  <a:lnTo>
                    <a:pt x="203392" y="277996"/>
                  </a:lnTo>
                  <a:cubicBezTo>
                    <a:pt x="216625" y="277996"/>
                    <a:pt x="228146" y="268072"/>
                    <a:pt x="228146" y="254839"/>
                  </a:cubicBezTo>
                  <a:lnTo>
                    <a:pt x="228146" y="69470"/>
                  </a:lnTo>
                  <a:lnTo>
                    <a:pt x="163695" y="0"/>
                  </a:lnTo>
                  <a:close/>
                  <a:moveTo>
                    <a:pt x="216625" y="254839"/>
                  </a:moveTo>
                  <a:cubicBezTo>
                    <a:pt x="216625" y="261456"/>
                    <a:pt x="211720" y="268072"/>
                    <a:pt x="203392" y="268072"/>
                  </a:cubicBezTo>
                  <a:lnTo>
                    <a:pt x="24754" y="268072"/>
                  </a:lnTo>
                  <a:cubicBezTo>
                    <a:pt x="16541" y="268072"/>
                    <a:pt x="9924" y="261456"/>
                    <a:pt x="9924" y="254839"/>
                  </a:cubicBezTo>
                  <a:lnTo>
                    <a:pt x="9924" y="23157"/>
                  </a:lnTo>
                  <a:cubicBezTo>
                    <a:pt x="9924" y="16541"/>
                    <a:pt x="16541" y="9924"/>
                    <a:pt x="24754" y="9924"/>
                  </a:cubicBezTo>
                  <a:lnTo>
                    <a:pt x="140538" y="9924"/>
                  </a:lnTo>
                  <a:lnTo>
                    <a:pt x="140538" y="74490"/>
                  </a:lnTo>
                  <a:cubicBezTo>
                    <a:pt x="140538" y="81106"/>
                    <a:pt x="145443" y="86125"/>
                    <a:pt x="152059" y="86125"/>
                  </a:cubicBezTo>
                  <a:lnTo>
                    <a:pt x="216511" y="86125"/>
                  </a:lnTo>
                  <a:lnTo>
                    <a:pt x="216511" y="254953"/>
                  </a:lnTo>
                  <a:close/>
                  <a:moveTo>
                    <a:pt x="150462" y="76087"/>
                  </a:moveTo>
                  <a:lnTo>
                    <a:pt x="150462" y="9924"/>
                  </a:lnTo>
                  <a:lnTo>
                    <a:pt x="158676" y="9924"/>
                  </a:lnTo>
                  <a:lnTo>
                    <a:pt x="218222" y="76087"/>
                  </a:lnTo>
                  <a:lnTo>
                    <a:pt x="150462" y="76087"/>
                  </a:ln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8" name="Freeform: Shape 137">
              <a:extLst>
                <a:ext uri="{FF2B5EF4-FFF2-40B4-BE49-F238E27FC236}">
                  <a16:creationId xmlns:a16="http://schemas.microsoft.com/office/drawing/2014/main" id="{A7737AD7-F417-C4CA-F312-D850637F3C34}"/>
                </a:ext>
              </a:extLst>
            </p:cNvPr>
            <p:cNvSpPr/>
            <p:nvPr/>
          </p:nvSpPr>
          <p:spPr>
            <a:xfrm>
              <a:off x="4842520" y="1525035"/>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1"/>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9" name="Freeform: Shape 138">
              <a:extLst>
                <a:ext uri="{FF2B5EF4-FFF2-40B4-BE49-F238E27FC236}">
                  <a16:creationId xmlns:a16="http://schemas.microsoft.com/office/drawing/2014/main" id="{8C5B5F81-B6FB-1BC8-A5E9-118D8B9A4BBB}"/>
                </a:ext>
              </a:extLst>
            </p:cNvPr>
            <p:cNvSpPr/>
            <p:nvPr/>
          </p:nvSpPr>
          <p:spPr>
            <a:xfrm>
              <a:off x="4842520" y="1577851"/>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2"/>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0" name="Freeform: Shape 139">
              <a:extLst>
                <a:ext uri="{FF2B5EF4-FFF2-40B4-BE49-F238E27FC236}">
                  <a16:creationId xmlns:a16="http://schemas.microsoft.com/office/drawing/2014/main" id="{94AE6549-A424-8935-F884-05E3D0F5233A}"/>
                </a:ext>
              </a:extLst>
            </p:cNvPr>
            <p:cNvSpPr/>
            <p:nvPr/>
          </p:nvSpPr>
          <p:spPr>
            <a:xfrm>
              <a:off x="4842520" y="1631009"/>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1"/>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grpSp>
      <p:sp>
        <p:nvSpPr>
          <p:cNvPr id="129" name="Freeform: Shape 128">
            <a:extLst>
              <a:ext uri="{FF2B5EF4-FFF2-40B4-BE49-F238E27FC236}">
                <a16:creationId xmlns:a16="http://schemas.microsoft.com/office/drawing/2014/main" id="{F3DE3F38-BC72-A0A7-810F-27E92F55DF07}"/>
              </a:ext>
              <a:ext uri="{C183D7F6-B498-43B3-948B-1728B52AA6E4}">
                <adec:decorative xmlns:adec="http://schemas.microsoft.com/office/drawing/2017/decorative" val="1"/>
              </a:ext>
            </a:extLst>
          </p:cNvPr>
          <p:cNvSpPr/>
          <p:nvPr/>
        </p:nvSpPr>
        <p:spPr>
          <a:xfrm rot="8100000">
            <a:off x="3199476" y="2330350"/>
            <a:ext cx="93570" cy="88099"/>
          </a:xfrm>
          <a:custGeom>
            <a:avLst/>
            <a:gdLst>
              <a:gd name="connsiteX0" fmla="*/ 118533 w 118533"/>
              <a:gd name="connsiteY0" fmla="*/ 0 h 93133"/>
              <a:gd name="connsiteX1" fmla="*/ 0 w 118533"/>
              <a:gd name="connsiteY1" fmla="*/ 0 h 93133"/>
              <a:gd name="connsiteX2" fmla="*/ 0 w 118533"/>
              <a:gd name="connsiteY2" fmla="*/ 93133 h 93133"/>
            </a:gdLst>
            <a:ahLst/>
            <a:cxnLst>
              <a:cxn ang="0">
                <a:pos x="connsiteX0" y="connsiteY0"/>
              </a:cxn>
              <a:cxn ang="0">
                <a:pos x="connsiteX1" y="connsiteY1"/>
              </a:cxn>
              <a:cxn ang="0">
                <a:pos x="connsiteX2" y="connsiteY2"/>
              </a:cxn>
            </a:cxnLst>
            <a:rect l="l" t="t" r="r" b="b"/>
            <a:pathLst>
              <a:path w="118533" h="93133">
                <a:moveTo>
                  <a:pt x="118533" y="0"/>
                </a:moveTo>
                <a:lnTo>
                  <a:pt x="0" y="0"/>
                </a:lnTo>
                <a:lnTo>
                  <a:pt x="0" y="93133"/>
                </a:lnTo>
              </a:path>
            </a:pathLst>
          </a:custGeom>
          <a:noFill/>
          <a:ln cap="rnd">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sp>
        <p:nvSpPr>
          <p:cNvPr id="130" name="Oval 129">
            <a:extLst>
              <a:ext uri="{FF2B5EF4-FFF2-40B4-BE49-F238E27FC236}">
                <a16:creationId xmlns:a16="http://schemas.microsoft.com/office/drawing/2014/main" id="{BA94B089-70AD-6E59-A718-A1E613E1E144}"/>
              </a:ext>
              <a:ext uri="{C183D7F6-B498-43B3-948B-1728B52AA6E4}">
                <adec:decorative xmlns:adec="http://schemas.microsoft.com/office/drawing/2017/decorative" val="1"/>
              </a:ext>
            </a:extLst>
          </p:cNvPr>
          <p:cNvSpPr/>
          <p:nvPr/>
        </p:nvSpPr>
        <p:spPr>
          <a:xfrm>
            <a:off x="5504642"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3</a:t>
            </a:r>
          </a:p>
        </p:txBody>
      </p:sp>
      <p:sp>
        <p:nvSpPr>
          <p:cNvPr id="131" name="Oval 130">
            <a:extLst>
              <a:ext uri="{FF2B5EF4-FFF2-40B4-BE49-F238E27FC236}">
                <a16:creationId xmlns:a16="http://schemas.microsoft.com/office/drawing/2014/main" id="{EECDCD9C-B8A0-8677-864F-913158833480}"/>
              </a:ext>
              <a:ext uri="{C183D7F6-B498-43B3-948B-1728B52AA6E4}">
                <adec:decorative xmlns:adec="http://schemas.microsoft.com/office/drawing/2017/decorative" val="1"/>
              </a:ext>
            </a:extLst>
          </p:cNvPr>
          <p:cNvSpPr/>
          <p:nvPr/>
        </p:nvSpPr>
        <p:spPr>
          <a:xfrm>
            <a:off x="6738132"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4</a:t>
            </a:r>
          </a:p>
        </p:txBody>
      </p:sp>
      <p:sp>
        <p:nvSpPr>
          <p:cNvPr id="132" name="Oval 131">
            <a:extLst>
              <a:ext uri="{FF2B5EF4-FFF2-40B4-BE49-F238E27FC236}">
                <a16:creationId xmlns:a16="http://schemas.microsoft.com/office/drawing/2014/main" id="{5B9EE414-C2CC-214E-E226-1855A166EAAE}"/>
              </a:ext>
              <a:ext uri="{C183D7F6-B498-43B3-948B-1728B52AA6E4}">
                <adec:decorative xmlns:adec="http://schemas.microsoft.com/office/drawing/2017/decorative" val="1"/>
              </a:ext>
            </a:extLst>
          </p:cNvPr>
          <p:cNvSpPr/>
          <p:nvPr/>
        </p:nvSpPr>
        <p:spPr>
          <a:xfrm>
            <a:off x="7978607"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5</a:t>
            </a:r>
          </a:p>
        </p:txBody>
      </p:sp>
      <p:sp>
        <p:nvSpPr>
          <p:cNvPr id="133" name="Freeform 103">
            <a:extLst>
              <a:ext uri="{FF2B5EF4-FFF2-40B4-BE49-F238E27FC236}">
                <a16:creationId xmlns:a16="http://schemas.microsoft.com/office/drawing/2014/main" id="{3933B5B1-59B4-08A5-C133-45893C592026}"/>
              </a:ext>
              <a:ext uri="{C183D7F6-B498-43B3-948B-1728B52AA6E4}">
                <adec:decorative xmlns:adec="http://schemas.microsoft.com/office/drawing/2017/decorative" val="1"/>
              </a:ext>
            </a:extLst>
          </p:cNvPr>
          <p:cNvSpPr>
            <a:spLocks noChangeAspect="1" noEditPoints="1"/>
          </p:cNvSpPr>
          <p:nvPr/>
        </p:nvSpPr>
        <p:spPr bwMode="auto">
          <a:xfrm>
            <a:off x="8168425" y="2641523"/>
            <a:ext cx="226066" cy="226066"/>
          </a:xfrm>
          <a:custGeom>
            <a:avLst/>
            <a:gdLst>
              <a:gd name="T0" fmla="*/ 168 w 169"/>
              <a:gd name="T1" fmla="*/ 164 h 169"/>
              <a:gd name="T2" fmla="*/ 127 w 169"/>
              <a:gd name="T3" fmla="*/ 122 h 169"/>
              <a:gd name="T4" fmla="*/ 127 w 169"/>
              <a:gd name="T5" fmla="*/ 122 h 169"/>
              <a:gd name="T6" fmla="*/ 146 w 169"/>
              <a:gd name="T7" fmla="*/ 73 h 169"/>
              <a:gd name="T8" fmla="*/ 73 w 169"/>
              <a:gd name="T9" fmla="*/ 0 h 169"/>
              <a:gd name="T10" fmla="*/ 0 w 169"/>
              <a:gd name="T11" fmla="*/ 73 h 169"/>
              <a:gd name="T12" fmla="*/ 73 w 169"/>
              <a:gd name="T13" fmla="*/ 146 h 169"/>
              <a:gd name="T14" fmla="*/ 122 w 169"/>
              <a:gd name="T15" fmla="*/ 128 h 169"/>
              <a:gd name="T16" fmla="*/ 122 w 169"/>
              <a:gd name="T17" fmla="*/ 127 h 169"/>
              <a:gd name="T18" fmla="*/ 122 w 169"/>
              <a:gd name="T19" fmla="*/ 128 h 169"/>
              <a:gd name="T20" fmla="*/ 163 w 169"/>
              <a:gd name="T21" fmla="*/ 168 h 169"/>
              <a:gd name="T22" fmla="*/ 166 w 169"/>
              <a:gd name="T23" fmla="*/ 169 h 169"/>
              <a:gd name="T24" fmla="*/ 169 w 169"/>
              <a:gd name="T25" fmla="*/ 166 h 169"/>
              <a:gd name="T26" fmla="*/ 168 w 169"/>
              <a:gd name="T27" fmla="*/ 164 h 169"/>
              <a:gd name="T28" fmla="*/ 73 w 169"/>
              <a:gd name="T29" fmla="*/ 140 h 169"/>
              <a:gd name="T30" fmla="*/ 7 w 169"/>
              <a:gd name="T31" fmla="*/ 73 h 169"/>
              <a:gd name="T32" fmla="*/ 73 w 169"/>
              <a:gd name="T33" fmla="*/ 7 h 169"/>
              <a:gd name="T34" fmla="*/ 139 w 169"/>
              <a:gd name="T35" fmla="*/ 73 h 169"/>
              <a:gd name="T36" fmla="*/ 73 w 169"/>
              <a:gd name="T37" fmla="*/ 14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8" y="164"/>
                </a:moveTo>
                <a:cubicBezTo>
                  <a:pt x="127" y="122"/>
                  <a:pt x="127" y="122"/>
                  <a:pt x="127" y="122"/>
                </a:cubicBezTo>
                <a:cubicBezTo>
                  <a:pt x="127" y="122"/>
                  <a:pt x="127" y="122"/>
                  <a:pt x="127" y="122"/>
                </a:cubicBezTo>
                <a:cubicBezTo>
                  <a:pt x="139" y="109"/>
                  <a:pt x="146" y="91"/>
                  <a:pt x="146" y="73"/>
                </a:cubicBezTo>
                <a:cubicBezTo>
                  <a:pt x="146" y="33"/>
                  <a:pt x="113" y="0"/>
                  <a:pt x="73" y="0"/>
                </a:cubicBezTo>
                <a:cubicBezTo>
                  <a:pt x="33" y="0"/>
                  <a:pt x="0" y="33"/>
                  <a:pt x="0" y="73"/>
                </a:cubicBezTo>
                <a:cubicBezTo>
                  <a:pt x="0" y="114"/>
                  <a:pt x="33" y="146"/>
                  <a:pt x="73" y="146"/>
                </a:cubicBezTo>
                <a:cubicBezTo>
                  <a:pt x="91" y="146"/>
                  <a:pt x="108" y="140"/>
                  <a:pt x="122" y="128"/>
                </a:cubicBezTo>
                <a:cubicBezTo>
                  <a:pt x="122" y="127"/>
                  <a:pt x="122" y="127"/>
                  <a:pt x="122" y="127"/>
                </a:cubicBezTo>
                <a:cubicBezTo>
                  <a:pt x="122" y="128"/>
                  <a:pt x="122" y="128"/>
                  <a:pt x="122" y="128"/>
                </a:cubicBezTo>
                <a:cubicBezTo>
                  <a:pt x="163" y="168"/>
                  <a:pt x="163" y="168"/>
                  <a:pt x="163" y="168"/>
                </a:cubicBezTo>
                <a:cubicBezTo>
                  <a:pt x="164" y="169"/>
                  <a:pt x="165" y="169"/>
                  <a:pt x="166" y="169"/>
                </a:cubicBezTo>
                <a:cubicBezTo>
                  <a:pt x="168" y="169"/>
                  <a:pt x="169" y="168"/>
                  <a:pt x="169" y="166"/>
                </a:cubicBezTo>
                <a:cubicBezTo>
                  <a:pt x="169" y="165"/>
                  <a:pt x="169" y="164"/>
                  <a:pt x="168" y="164"/>
                </a:cubicBezTo>
                <a:close/>
                <a:moveTo>
                  <a:pt x="73" y="140"/>
                </a:moveTo>
                <a:cubicBezTo>
                  <a:pt x="37" y="140"/>
                  <a:pt x="7" y="110"/>
                  <a:pt x="7" y="73"/>
                </a:cubicBezTo>
                <a:cubicBezTo>
                  <a:pt x="7" y="37"/>
                  <a:pt x="37" y="7"/>
                  <a:pt x="73" y="7"/>
                </a:cubicBezTo>
                <a:cubicBezTo>
                  <a:pt x="110" y="7"/>
                  <a:pt x="139" y="37"/>
                  <a:pt x="139" y="73"/>
                </a:cubicBezTo>
                <a:cubicBezTo>
                  <a:pt x="139" y="110"/>
                  <a:pt x="110" y="140"/>
                  <a:pt x="73" y="14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166" name="Group 165">
            <a:extLst>
              <a:ext uri="{FF2B5EF4-FFF2-40B4-BE49-F238E27FC236}">
                <a16:creationId xmlns:a16="http://schemas.microsoft.com/office/drawing/2014/main" id="{F586175E-1D35-C481-2DEC-1DE14DD12B84}"/>
              </a:ext>
              <a:ext uri="{C183D7F6-B498-43B3-948B-1728B52AA6E4}">
                <adec:decorative xmlns:adec="http://schemas.microsoft.com/office/drawing/2017/decorative" val="1"/>
              </a:ext>
            </a:extLst>
          </p:cNvPr>
          <p:cNvGrpSpPr>
            <a:grpSpLocks noChangeAspect="1"/>
          </p:cNvGrpSpPr>
          <p:nvPr/>
        </p:nvGrpSpPr>
        <p:grpSpPr>
          <a:xfrm>
            <a:off x="2447782" y="5799043"/>
            <a:ext cx="255116" cy="284620"/>
            <a:chOff x="6142038" y="3257550"/>
            <a:chExt cx="466725" cy="520701"/>
          </a:xfrm>
          <a:solidFill>
            <a:schemeClr val="accent3"/>
          </a:solidFill>
        </p:grpSpPr>
        <p:sp>
          <p:nvSpPr>
            <p:cNvPr id="167" name="Freeform 89">
              <a:extLst>
                <a:ext uri="{FF2B5EF4-FFF2-40B4-BE49-F238E27FC236}">
                  <a16:creationId xmlns:a16="http://schemas.microsoft.com/office/drawing/2014/main" id="{7818FEE8-9370-6783-7684-DA76A1B50714}"/>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90">
              <a:extLst>
                <a:ext uri="{FF2B5EF4-FFF2-40B4-BE49-F238E27FC236}">
                  <a16:creationId xmlns:a16="http://schemas.microsoft.com/office/drawing/2014/main" id="{D716EC26-C49A-7F2D-D7D2-E2BE6C8E2AF5}"/>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9" name="Freeform 91">
              <a:extLst>
                <a:ext uri="{FF2B5EF4-FFF2-40B4-BE49-F238E27FC236}">
                  <a16:creationId xmlns:a16="http://schemas.microsoft.com/office/drawing/2014/main" id="{2418F7D6-01CE-81A7-70F8-7D3DBD6936F1}"/>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0" name="Freeform 92">
              <a:extLst>
                <a:ext uri="{FF2B5EF4-FFF2-40B4-BE49-F238E27FC236}">
                  <a16:creationId xmlns:a16="http://schemas.microsoft.com/office/drawing/2014/main" id="{FDD05E2F-A84A-33C9-0C7A-3D8F34E74D54}"/>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7" name="Freeform 93">
              <a:extLst>
                <a:ext uri="{FF2B5EF4-FFF2-40B4-BE49-F238E27FC236}">
                  <a16:creationId xmlns:a16="http://schemas.microsoft.com/office/drawing/2014/main" id="{5380AB85-F37D-14EB-68A4-AA4EA7AEEE00}"/>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0" name="Freeform 94">
              <a:extLst>
                <a:ext uri="{FF2B5EF4-FFF2-40B4-BE49-F238E27FC236}">
                  <a16:creationId xmlns:a16="http://schemas.microsoft.com/office/drawing/2014/main" id="{1B351253-C22C-F84D-4258-722F2188A11C}"/>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1" name="Freeform 95">
              <a:extLst>
                <a:ext uri="{FF2B5EF4-FFF2-40B4-BE49-F238E27FC236}">
                  <a16:creationId xmlns:a16="http://schemas.microsoft.com/office/drawing/2014/main" id="{1E57B56E-EFC2-8E36-B083-C850E7C26524}"/>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2" name="Freeform 96">
              <a:extLst>
                <a:ext uri="{FF2B5EF4-FFF2-40B4-BE49-F238E27FC236}">
                  <a16:creationId xmlns:a16="http://schemas.microsoft.com/office/drawing/2014/main" id="{B92B087B-6C34-73AE-9EC5-9C6C7DE700EA}"/>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3" name="Freeform 97">
              <a:extLst>
                <a:ext uri="{FF2B5EF4-FFF2-40B4-BE49-F238E27FC236}">
                  <a16:creationId xmlns:a16="http://schemas.microsoft.com/office/drawing/2014/main" id="{539E8C30-D249-8E37-9E6B-FCF069CEBDAE}"/>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4" name="Freeform 98">
              <a:extLst>
                <a:ext uri="{FF2B5EF4-FFF2-40B4-BE49-F238E27FC236}">
                  <a16:creationId xmlns:a16="http://schemas.microsoft.com/office/drawing/2014/main" id="{4C957A3E-EFDE-FAEF-760B-305044BB09B8}"/>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87" name="Straight Arrow Connector 186">
            <a:extLst>
              <a:ext uri="{FF2B5EF4-FFF2-40B4-BE49-F238E27FC236}">
                <a16:creationId xmlns:a16="http://schemas.microsoft.com/office/drawing/2014/main" id="{9F438ADA-566E-15E1-BAC5-732510022868}"/>
              </a:ext>
              <a:ext uri="{C183D7F6-B498-43B3-948B-1728B52AA6E4}">
                <adec:decorative xmlns:adec="http://schemas.microsoft.com/office/drawing/2017/decorative" val="1"/>
              </a:ext>
            </a:extLst>
          </p:cNvPr>
          <p:cNvCxnSpPr>
            <a:cxnSpLocks/>
          </p:cNvCxnSpPr>
          <p:nvPr/>
        </p:nvCxnSpPr>
        <p:spPr>
          <a:xfrm flipH="1">
            <a:off x="3884357" y="7135871"/>
            <a:ext cx="1461549" cy="0"/>
          </a:xfrm>
          <a:prstGeom prst="straightConnector1">
            <a:avLst/>
          </a:prstGeom>
          <a:ln>
            <a:solidFill>
              <a:schemeClr val="tx2"/>
            </a:soli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871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6997C0-ABCC-BBF3-12AD-0C7AC342FC6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29233847"/>
              </p:ext>
            </p:extLst>
          </p:nvPr>
        </p:nvGraphicFramePr>
        <p:xfrm>
          <a:off x="307873" y="1750"/>
          <a:ext cx="1750" cy="1750"/>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12" name="Object 11" hidden="1">
                        <a:extLst>
                          <a:ext uri="{FF2B5EF4-FFF2-40B4-BE49-F238E27FC236}">
                            <a16:creationId xmlns:a16="http://schemas.microsoft.com/office/drawing/2014/main" id="{996997C0-ABCC-BBF3-12AD-0C7AC342FC67}"/>
                          </a:ext>
                          <a:ext uri="{C183D7F6-B498-43B3-948B-1728B52AA6E4}">
                            <adec:decorative xmlns:adec="http://schemas.microsoft.com/office/drawing/2017/decorative" val="1"/>
                          </a:ext>
                        </a:extLst>
                      </p:cNvPr>
                      <p:cNvPicPr/>
                      <p:nvPr/>
                    </p:nvPicPr>
                    <p:blipFill>
                      <a:blip r:embed="rId4"/>
                      <a:stretch>
                        <a:fillRect/>
                      </a:stretch>
                    </p:blipFill>
                    <p:spPr>
                      <a:xfrm>
                        <a:off x="307873" y="1750"/>
                        <a:ext cx="1750" cy="1750"/>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C23A05B-338A-E882-D37C-C09A4BEA8CED}"/>
              </a:ext>
            </a:extLst>
          </p:cNvPr>
          <p:cNvSpPr>
            <a:spLocks noGrp="1"/>
          </p:cNvSpPr>
          <p:nvPr>
            <p:ph type="title"/>
          </p:nvPr>
        </p:nvSpPr>
        <p:spPr/>
        <p:txBody>
          <a:bodyPr vert="horz"/>
          <a:lstStyle/>
          <a:p>
            <a:r>
              <a:rPr lang="en-AU" dirty="0"/>
              <a:t>Extension of Time Request Service Flow</a:t>
            </a:r>
          </a:p>
        </p:txBody>
      </p:sp>
      <p:sp>
        <p:nvSpPr>
          <p:cNvPr id="162" name="TextBox 161">
            <a:extLst>
              <a:ext uri="{FF2B5EF4-FFF2-40B4-BE49-F238E27FC236}">
                <a16:creationId xmlns:a16="http://schemas.microsoft.com/office/drawing/2014/main" id="{DF3F446E-0D33-9480-1AEE-7525C47D56ED}"/>
              </a:ext>
            </a:extLst>
          </p:cNvPr>
          <p:cNvSpPr txBox="1"/>
          <p:nvPr/>
        </p:nvSpPr>
        <p:spPr>
          <a:xfrm>
            <a:off x="100135" y="1748497"/>
            <a:ext cx="2166716" cy="1708160"/>
          </a:xfrm>
          <a:prstGeom prst="rect">
            <a:avLst/>
          </a:prstGeom>
          <a:noFill/>
        </p:spPr>
        <p:txBody>
          <a:bodyPr wrap="square" lIns="91440" tIns="45720" rIns="91440" bIns="45720" rtlCol="0" anchor="t">
            <a:spAutoFit/>
          </a:bodyPr>
          <a:lstStyle/>
          <a:p>
            <a:pPr>
              <a:spcBef>
                <a:spcPts val="600"/>
              </a:spcBef>
            </a:pPr>
            <a:r>
              <a:rPr lang="en-AU" sz="1000" dirty="0">
                <a:solidFill>
                  <a:schemeClr val="accent6"/>
                </a:solidFill>
              </a:rPr>
              <a:t>This </a:t>
            </a:r>
            <a:r>
              <a:rPr lang="en-AU" sz="1000" b="1" dirty="0">
                <a:solidFill>
                  <a:schemeClr val="accent6"/>
                </a:solidFill>
              </a:rPr>
              <a:t>Extension of Time Request Flow </a:t>
            </a:r>
            <a:r>
              <a:rPr lang="en-AU" sz="1000" dirty="0">
                <a:solidFill>
                  <a:schemeClr val="accent6"/>
                </a:solidFill>
              </a:rPr>
              <a:t>has been designed as a visual representation of the front and back of house actions undertaken by applicants and planners as part of the extension of time request process.</a:t>
            </a:r>
          </a:p>
          <a:p>
            <a:pPr>
              <a:spcBef>
                <a:spcPts val="600"/>
              </a:spcBef>
            </a:pPr>
            <a:r>
              <a:rPr lang="en-AU" sz="1000" dirty="0">
                <a:solidFill>
                  <a:schemeClr val="accent6"/>
                </a:solidFill>
              </a:rPr>
              <a:t>Primary target users of this service flow are the planning and business support teams at Council. </a:t>
            </a:r>
          </a:p>
        </p:txBody>
      </p:sp>
      <p:sp>
        <p:nvSpPr>
          <p:cNvPr id="3" name="Freeform: Shape 2">
            <a:extLst>
              <a:ext uri="{FF2B5EF4-FFF2-40B4-BE49-F238E27FC236}">
                <a16:creationId xmlns:a16="http://schemas.microsoft.com/office/drawing/2014/main" id="{9FE20CB0-DDF5-E472-3FDC-959B6E0D38C9}"/>
              </a:ext>
              <a:ext uri="{C183D7F6-B498-43B3-948B-1728B52AA6E4}">
                <adec:decorative xmlns:adec="http://schemas.microsoft.com/office/drawing/2017/decorative" val="1"/>
              </a:ext>
            </a:extLst>
          </p:cNvPr>
          <p:cNvSpPr/>
          <p:nvPr/>
        </p:nvSpPr>
        <p:spPr>
          <a:xfrm>
            <a:off x="164617" y="3658850"/>
            <a:ext cx="2167534" cy="2663554"/>
          </a:xfrm>
          <a:custGeom>
            <a:avLst/>
            <a:gdLst>
              <a:gd name="connsiteX0" fmla="*/ 0 w 4504109"/>
              <a:gd name="connsiteY0" fmla="*/ 0 h 10165701"/>
              <a:gd name="connsiteX1" fmla="*/ 4504110 w 4504109"/>
              <a:gd name="connsiteY1" fmla="*/ 0 h 10165701"/>
              <a:gd name="connsiteX2" fmla="*/ 4504110 w 4504109"/>
              <a:gd name="connsiteY2" fmla="*/ 10165701 h 10165701"/>
              <a:gd name="connsiteX3" fmla="*/ 0 w 4504109"/>
              <a:gd name="connsiteY3" fmla="*/ 10165701 h 10165701"/>
            </a:gdLst>
            <a:ahLst/>
            <a:cxnLst>
              <a:cxn ang="0">
                <a:pos x="connsiteX0" y="connsiteY0"/>
              </a:cxn>
              <a:cxn ang="0">
                <a:pos x="connsiteX1" y="connsiteY1"/>
              </a:cxn>
              <a:cxn ang="0">
                <a:pos x="connsiteX2" y="connsiteY2"/>
              </a:cxn>
              <a:cxn ang="0">
                <a:pos x="connsiteX3" y="connsiteY3"/>
              </a:cxn>
            </a:cxnLst>
            <a:rect l="l" t="t" r="r" b="b"/>
            <a:pathLst>
              <a:path w="4504109" h="10165701">
                <a:moveTo>
                  <a:pt x="0" y="0"/>
                </a:moveTo>
                <a:lnTo>
                  <a:pt x="4504110" y="0"/>
                </a:lnTo>
                <a:lnTo>
                  <a:pt x="4504110" y="10165701"/>
                </a:lnTo>
                <a:lnTo>
                  <a:pt x="0" y="10165701"/>
                </a:lnTo>
                <a:close/>
              </a:path>
            </a:pathLst>
          </a:custGeom>
          <a:noFill/>
          <a:ln w="18179" cap="flat">
            <a:solidFill>
              <a:srgbClr val="29BEC6"/>
            </a:solidFill>
            <a:prstDash val="solid"/>
            <a:miter/>
          </a:ln>
        </p:spPr>
        <p:txBody>
          <a:bodyPr rtlCol="0" anchor="ctr"/>
          <a:lstStyle/>
          <a:p>
            <a:endParaRPr lang="en-AU" sz="1000"/>
          </a:p>
        </p:txBody>
      </p:sp>
      <p:sp>
        <p:nvSpPr>
          <p:cNvPr id="4" name="TextBox 3">
            <a:extLst>
              <a:ext uri="{FF2B5EF4-FFF2-40B4-BE49-F238E27FC236}">
                <a16:creationId xmlns:a16="http://schemas.microsoft.com/office/drawing/2014/main" id="{E4892AB0-E1B1-271C-5C91-B27230761FD2}"/>
              </a:ext>
            </a:extLst>
          </p:cNvPr>
          <p:cNvSpPr txBox="1"/>
          <p:nvPr/>
        </p:nvSpPr>
        <p:spPr>
          <a:xfrm>
            <a:off x="751318" y="3708511"/>
            <a:ext cx="857927" cy="261610"/>
          </a:xfrm>
          <a:prstGeom prst="rect">
            <a:avLst/>
          </a:prstGeom>
          <a:solidFill>
            <a:schemeClr val="bg1"/>
          </a:solidFill>
        </p:spPr>
        <p:txBody>
          <a:bodyPr wrap="none" rtlCol="0">
            <a:spAutoFit/>
          </a:bodyPr>
          <a:lstStyle/>
          <a:p>
            <a:pPr algn="l"/>
            <a:r>
              <a:rPr lang="en-AU" sz="1100" b="1" spc="0" baseline="0" dirty="0">
                <a:solidFill>
                  <a:srgbClr val="017D7D"/>
                </a:solidFill>
                <a:sym typeface="Overpass-SemiBold"/>
                <a:rtl val="0"/>
              </a:rPr>
              <a:t>Principles</a:t>
            </a:r>
          </a:p>
        </p:txBody>
      </p:sp>
      <p:sp>
        <p:nvSpPr>
          <p:cNvPr id="19" name="TextBox 124">
            <a:extLst>
              <a:ext uri="{FF2B5EF4-FFF2-40B4-BE49-F238E27FC236}">
                <a16:creationId xmlns:a16="http://schemas.microsoft.com/office/drawing/2014/main" id="{06AEE7AA-18BB-4F96-CA50-EC2D94FF8BBE}"/>
              </a:ext>
            </a:extLst>
          </p:cNvPr>
          <p:cNvSpPr txBox="1"/>
          <p:nvPr/>
        </p:nvSpPr>
        <p:spPr>
          <a:xfrm>
            <a:off x="409082" y="3978292"/>
            <a:ext cx="1858378" cy="400110"/>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will encourage complete application forms </a:t>
            </a:r>
          </a:p>
        </p:txBody>
      </p:sp>
      <p:sp>
        <p:nvSpPr>
          <p:cNvPr id="20" name="TextBox 124">
            <a:extLst>
              <a:ext uri="{FF2B5EF4-FFF2-40B4-BE49-F238E27FC236}">
                <a16:creationId xmlns:a16="http://schemas.microsoft.com/office/drawing/2014/main" id="{15C085FE-1BEE-88DB-4744-754A0530A9C4}"/>
              </a:ext>
            </a:extLst>
          </p:cNvPr>
          <p:cNvSpPr txBox="1"/>
          <p:nvPr/>
        </p:nvSpPr>
        <p:spPr>
          <a:xfrm>
            <a:off x="409082" y="4408861"/>
            <a:ext cx="2038700"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commit to requesting further information (if required) as quickly as possible</a:t>
            </a:r>
          </a:p>
        </p:txBody>
      </p:sp>
      <p:sp>
        <p:nvSpPr>
          <p:cNvPr id="24" name="TextBox 124">
            <a:extLst>
              <a:ext uri="{FF2B5EF4-FFF2-40B4-BE49-F238E27FC236}">
                <a16:creationId xmlns:a16="http://schemas.microsoft.com/office/drawing/2014/main" id="{47E78914-A0ED-4553-B5A1-891457D69ADB}"/>
              </a:ext>
            </a:extLst>
          </p:cNvPr>
          <p:cNvSpPr txBox="1"/>
          <p:nvPr/>
        </p:nvSpPr>
        <p:spPr>
          <a:xfrm>
            <a:off x="409082" y="5020322"/>
            <a:ext cx="1858378"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only consider the relevant guidelines when reviewing the request</a:t>
            </a:r>
          </a:p>
        </p:txBody>
      </p:sp>
      <p:sp>
        <p:nvSpPr>
          <p:cNvPr id="21" name="TextBox 124">
            <a:extLst>
              <a:ext uri="{FF2B5EF4-FFF2-40B4-BE49-F238E27FC236}">
                <a16:creationId xmlns:a16="http://schemas.microsoft.com/office/drawing/2014/main" id="{1E30F6B6-0552-E130-31E8-01D1C2691437}"/>
              </a:ext>
            </a:extLst>
          </p:cNvPr>
          <p:cNvSpPr txBox="1"/>
          <p:nvPr/>
        </p:nvSpPr>
        <p:spPr>
          <a:xfrm>
            <a:off x="409082" y="5623559"/>
            <a:ext cx="1858378" cy="553998"/>
          </a:xfrm>
          <a:prstGeom prst="rect">
            <a:avLst/>
          </a:prstGeom>
          <a:noFill/>
        </p:spPr>
        <p:txBody>
          <a:bodyPr wrap="square" rtlCol="0">
            <a:spAutoFit/>
          </a:bodyPr>
          <a:lstStyle/>
          <a:p>
            <a:pPr marL="61198">
              <a:spcBef>
                <a:spcPts val="600"/>
              </a:spcBef>
              <a:spcAft>
                <a:spcPts val="1200"/>
              </a:spcAft>
              <a:buClr>
                <a:srgbClr val="0070C0"/>
              </a:buClr>
            </a:pPr>
            <a:r>
              <a:rPr lang="en-AU" sz="1000" dirty="0">
                <a:solidFill>
                  <a:srgbClr val="017D7D"/>
                </a:solidFill>
                <a:cs typeface="Segoe UI Semilight" panose="020B0402040204020203" pitchFamily="34" charset="0"/>
              </a:rPr>
              <a:t>We communicate in a transparent and proactive way</a:t>
            </a:r>
          </a:p>
        </p:txBody>
      </p:sp>
      <p:grpSp>
        <p:nvGrpSpPr>
          <p:cNvPr id="6" name="Graphic 2">
            <a:extLst>
              <a:ext uri="{FF2B5EF4-FFF2-40B4-BE49-F238E27FC236}">
                <a16:creationId xmlns:a16="http://schemas.microsoft.com/office/drawing/2014/main" id="{6A2BEC64-6117-910D-C5EA-F68B113DFCBE}"/>
              </a:ext>
              <a:ext uri="{C183D7F6-B498-43B3-948B-1728B52AA6E4}">
                <adec:decorative xmlns:adec="http://schemas.microsoft.com/office/drawing/2017/decorative" val="1"/>
              </a:ext>
            </a:extLst>
          </p:cNvPr>
          <p:cNvGrpSpPr/>
          <p:nvPr/>
        </p:nvGrpSpPr>
        <p:grpSpPr>
          <a:xfrm>
            <a:off x="263505" y="4466443"/>
            <a:ext cx="221127" cy="213217"/>
            <a:chOff x="736421" y="15190987"/>
            <a:chExt cx="386554" cy="386555"/>
          </a:xfrm>
          <a:solidFill>
            <a:srgbClr val="017D7D"/>
          </a:solidFill>
        </p:grpSpPr>
        <p:sp>
          <p:nvSpPr>
            <p:cNvPr id="7" name="Freeform: Shape 6">
              <a:extLst>
                <a:ext uri="{FF2B5EF4-FFF2-40B4-BE49-F238E27FC236}">
                  <a16:creationId xmlns:a16="http://schemas.microsoft.com/office/drawing/2014/main" id="{3A8A205B-331C-CFE3-EBEF-0BE981F5256F}"/>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8" name="Freeform: Shape 7">
              <a:extLst>
                <a:ext uri="{FF2B5EF4-FFF2-40B4-BE49-F238E27FC236}">
                  <a16:creationId xmlns:a16="http://schemas.microsoft.com/office/drawing/2014/main" id="{BF0E5D0F-DDEB-A1AA-AE90-2D50D70DFBA4}"/>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grpSp>
        <p:nvGrpSpPr>
          <p:cNvPr id="9" name="Graphic 2">
            <a:extLst>
              <a:ext uri="{FF2B5EF4-FFF2-40B4-BE49-F238E27FC236}">
                <a16:creationId xmlns:a16="http://schemas.microsoft.com/office/drawing/2014/main" id="{CD1735E3-79A0-AA44-EDDB-FA6BF6634E7A}"/>
              </a:ext>
              <a:ext uri="{C183D7F6-B498-43B3-948B-1728B52AA6E4}">
                <adec:decorative xmlns:adec="http://schemas.microsoft.com/office/drawing/2017/decorative" val="1"/>
              </a:ext>
            </a:extLst>
          </p:cNvPr>
          <p:cNvGrpSpPr/>
          <p:nvPr/>
        </p:nvGrpSpPr>
        <p:grpSpPr>
          <a:xfrm>
            <a:off x="261216" y="4058989"/>
            <a:ext cx="221127" cy="213217"/>
            <a:chOff x="736421" y="15190987"/>
            <a:chExt cx="386554" cy="386555"/>
          </a:xfrm>
          <a:solidFill>
            <a:srgbClr val="017D7D"/>
          </a:solidFill>
        </p:grpSpPr>
        <p:sp>
          <p:nvSpPr>
            <p:cNvPr id="10" name="Freeform: Shape 9">
              <a:extLst>
                <a:ext uri="{FF2B5EF4-FFF2-40B4-BE49-F238E27FC236}">
                  <a16:creationId xmlns:a16="http://schemas.microsoft.com/office/drawing/2014/main" id="{D1A704D7-BE59-BB14-ACBF-C6B9C7DA9571}"/>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11" name="Freeform: Shape 10">
              <a:extLst>
                <a:ext uri="{FF2B5EF4-FFF2-40B4-BE49-F238E27FC236}">
                  <a16:creationId xmlns:a16="http://schemas.microsoft.com/office/drawing/2014/main" id="{68C87E29-6F5C-96BF-8979-5B84A99FBCE4}"/>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grpSp>
        <p:nvGrpSpPr>
          <p:cNvPr id="13" name="Graphic 2">
            <a:extLst>
              <a:ext uri="{FF2B5EF4-FFF2-40B4-BE49-F238E27FC236}">
                <a16:creationId xmlns:a16="http://schemas.microsoft.com/office/drawing/2014/main" id="{5D462C46-D98E-F299-90CD-8B6992C44E7E}"/>
              </a:ext>
              <a:ext uri="{C183D7F6-B498-43B3-948B-1728B52AA6E4}">
                <adec:decorative xmlns:adec="http://schemas.microsoft.com/office/drawing/2017/decorative" val="1"/>
              </a:ext>
            </a:extLst>
          </p:cNvPr>
          <p:cNvGrpSpPr/>
          <p:nvPr/>
        </p:nvGrpSpPr>
        <p:grpSpPr>
          <a:xfrm>
            <a:off x="266754" y="5086262"/>
            <a:ext cx="221127" cy="213217"/>
            <a:chOff x="736421" y="15190987"/>
            <a:chExt cx="386554" cy="386555"/>
          </a:xfrm>
          <a:solidFill>
            <a:srgbClr val="017D7D"/>
          </a:solidFill>
        </p:grpSpPr>
        <p:sp>
          <p:nvSpPr>
            <p:cNvPr id="14" name="Freeform: Shape 13">
              <a:extLst>
                <a:ext uri="{FF2B5EF4-FFF2-40B4-BE49-F238E27FC236}">
                  <a16:creationId xmlns:a16="http://schemas.microsoft.com/office/drawing/2014/main" id="{58B891F5-F4A0-C592-71D7-3936CFD44B31}"/>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15" name="Freeform: Shape 14">
              <a:extLst>
                <a:ext uri="{FF2B5EF4-FFF2-40B4-BE49-F238E27FC236}">
                  <a16:creationId xmlns:a16="http://schemas.microsoft.com/office/drawing/2014/main" id="{A85BDB40-8669-561D-353F-0F9AC7D7577C}"/>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grpSp>
        <p:nvGrpSpPr>
          <p:cNvPr id="16" name="Graphic 2">
            <a:extLst>
              <a:ext uri="{FF2B5EF4-FFF2-40B4-BE49-F238E27FC236}">
                <a16:creationId xmlns:a16="http://schemas.microsoft.com/office/drawing/2014/main" id="{E12C1C85-6673-6C51-FF71-1EB332C0AF6B}"/>
              </a:ext>
              <a:ext uri="{C183D7F6-B498-43B3-948B-1728B52AA6E4}">
                <adec:decorative xmlns:adec="http://schemas.microsoft.com/office/drawing/2017/decorative" val="1"/>
              </a:ext>
            </a:extLst>
          </p:cNvPr>
          <p:cNvGrpSpPr/>
          <p:nvPr/>
        </p:nvGrpSpPr>
        <p:grpSpPr>
          <a:xfrm>
            <a:off x="266754" y="5702178"/>
            <a:ext cx="221127" cy="213217"/>
            <a:chOff x="736421" y="15190987"/>
            <a:chExt cx="386554" cy="386555"/>
          </a:xfrm>
          <a:solidFill>
            <a:srgbClr val="017D7D"/>
          </a:solidFill>
        </p:grpSpPr>
        <p:sp>
          <p:nvSpPr>
            <p:cNvPr id="17" name="Freeform: Shape 16">
              <a:extLst>
                <a:ext uri="{FF2B5EF4-FFF2-40B4-BE49-F238E27FC236}">
                  <a16:creationId xmlns:a16="http://schemas.microsoft.com/office/drawing/2014/main" id="{4A2C8209-6760-993A-4968-466D53A68807}"/>
                </a:ext>
              </a:extLst>
            </p:cNvPr>
            <p:cNvSpPr/>
            <p:nvPr/>
          </p:nvSpPr>
          <p:spPr>
            <a:xfrm>
              <a:off x="736421" y="15190987"/>
              <a:ext cx="386554" cy="386555"/>
            </a:xfrm>
            <a:custGeom>
              <a:avLst/>
              <a:gdLst>
                <a:gd name="connsiteX0" fmla="*/ 373100 w 386554"/>
                <a:gd name="connsiteY0" fmla="*/ 122730 h 386555"/>
                <a:gd name="connsiteX1" fmla="*/ 362918 w 386554"/>
                <a:gd name="connsiteY1" fmla="*/ 118367 h 386555"/>
                <a:gd name="connsiteX2" fmla="*/ 358554 w 386554"/>
                <a:gd name="connsiteY2" fmla="*/ 128549 h 386555"/>
                <a:gd name="connsiteX3" fmla="*/ 370736 w 386554"/>
                <a:gd name="connsiteY3" fmla="*/ 193460 h 386555"/>
                <a:gd name="connsiteX4" fmla="*/ 193096 w 386554"/>
                <a:gd name="connsiteY4" fmla="*/ 371099 h 386555"/>
                <a:gd name="connsiteX5" fmla="*/ 15455 w 386554"/>
                <a:gd name="connsiteY5" fmla="*/ 193460 h 386555"/>
                <a:gd name="connsiteX6" fmla="*/ 193096 w 386554"/>
                <a:gd name="connsiteY6" fmla="*/ 15818 h 386555"/>
                <a:gd name="connsiteX7" fmla="*/ 322190 w 386554"/>
                <a:gd name="connsiteY7" fmla="*/ 71274 h 386555"/>
                <a:gd name="connsiteX8" fmla="*/ 333281 w 386554"/>
                <a:gd name="connsiteY8" fmla="*/ 71638 h 386555"/>
                <a:gd name="connsiteX9" fmla="*/ 333644 w 386554"/>
                <a:gd name="connsiteY9" fmla="*/ 60547 h 386555"/>
                <a:gd name="connsiteX10" fmla="*/ 193277 w 386554"/>
                <a:gd name="connsiteY10" fmla="*/ 0 h 386555"/>
                <a:gd name="connsiteX11" fmla="*/ 0 w 386554"/>
                <a:gd name="connsiteY11" fmla="*/ 193278 h 386555"/>
                <a:gd name="connsiteX12" fmla="*/ 193277 w 386554"/>
                <a:gd name="connsiteY12" fmla="*/ 386555 h 386555"/>
                <a:gd name="connsiteX13" fmla="*/ 386555 w 386554"/>
                <a:gd name="connsiteY13" fmla="*/ 193278 h 386555"/>
                <a:gd name="connsiteX14" fmla="*/ 373282 w 386554"/>
                <a:gd name="connsiteY14" fmla="*/ 122548 h 38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554" h="386555">
                  <a:moveTo>
                    <a:pt x="373100" y="122730"/>
                  </a:moveTo>
                  <a:cubicBezTo>
                    <a:pt x="371464" y="118730"/>
                    <a:pt x="366918" y="116730"/>
                    <a:pt x="362918" y="118367"/>
                  </a:cubicBezTo>
                  <a:cubicBezTo>
                    <a:pt x="358918" y="120002"/>
                    <a:pt x="356918" y="124548"/>
                    <a:pt x="358554" y="128549"/>
                  </a:cubicBezTo>
                  <a:cubicBezTo>
                    <a:pt x="366736" y="149276"/>
                    <a:pt x="370736" y="171095"/>
                    <a:pt x="370736" y="193460"/>
                  </a:cubicBezTo>
                  <a:cubicBezTo>
                    <a:pt x="370736" y="291461"/>
                    <a:pt x="291098" y="371099"/>
                    <a:pt x="193096" y="371099"/>
                  </a:cubicBezTo>
                  <a:cubicBezTo>
                    <a:pt x="95093" y="371099"/>
                    <a:pt x="15455" y="291461"/>
                    <a:pt x="15455" y="193460"/>
                  </a:cubicBezTo>
                  <a:cubicBezTo>
                    <a:pt x="15455" y="95457"/>
                    <a:pt x="95093" y="15818"/>
                    <a:pt x="193096" y="15818"/>
                  </a:cubicBezTo>
                  <a:cubicBezTo>
                    <a:pt x="242369" y="15818"/>
                    <a:pt x="288189" y="35456"/>
                    <a:pt x="322190" y="71274"/>
                  </a:cubicBezTo>
                  <a:cubicBezTo>
                    <a:pt x="325099" y="74365"/>
                    <a:pt x="330190" y="74547"/>
                    <a:pt x="333281" y="71638"/>
                  </a:cubicBezTo>
                  <a:cubicBezTo>
                    <a:pt x="336372" y="68728"/>
                    <a:pt x="336554" y="63638"/>
                    <a:pt x="333644" y="60547"/>
                  </a:cubicBezTo>
                  <a:cubicBezTo>
                    <a:pt x="296734" y="21637"/>
                    <a:pt x="246915" y="0"/>
                    <a:pt x="193277" y="0"/>
                  </a:cubicBezTo>
                  <a:cubicBezTo>
                    <a:pt x="86729" y="0"/>
                    <a:pt x="0" y="86729"/>
                    <a:pt x="0" y="193278"/>
                  </a:cubicBezTo>
                  <a:cubicBezTo>
                    <a:pt x="0" y="299825"/>
                    <a:pt x="86729" y="386555"/>
                    <a:pt x="193277" y="386555"/>
                  </a:cubicBezTo>
                  <a:cubicBezTo>
                    <a:pt x="299825" y="386555"/>
                    <a:pt x="386555" y="299825"/>
                    <a:pt x="386555" y="193278"/>
                  </a:cubicBezTo>
                  <a:cubicBezTo>
                    <a:pt x="386555" y="168913"/>
                    <a:pt x="382009" y="145094"/>
                    <a:pt x="373282" y="122548"/>
                  </a:cubicBezTo>
                  <a:close/>
                </a:path>
              </a:pathLst>
            </a:custGeom>
            <a:grpFill/>
            <a:ln w="18179" cap="flat">
              <a:noFill/>
              <a:prstDash val="solid"/>
              <a:miter/>
            </a:ln>
          </p:spPr>
          <p:txBody>
            <a:bodyPr rtlCol="0" anchor="ctr"/>
            <a:lstStyle/>
            <a:p>
              <a:endParaRPr lang="en-AU" sz="1000"/>
            </a:p>
          </p:txBody>
        </p:sp>
        <p:sp>
          <p:nvSpPr>
            <p:cNvPr id="18" name="Freeform: Shape 17">
              <a:extLst>
                <a:ext uri="{FF2B5EF4-FFF2-40B4-BE49-F238E27FC236}">
                  <a16:creationId xmlns:a16="http://schemas.microsoft.com/office/drawing/2014/main" id="{884CD216-76AD-6B8F-EE0E-D20D35FE0E28}"/>
                </a:ext>
              </a:extLst>
            </p:cNvPr>
            <p:cNvSpPr/>
            <p:nvPr/>
          </p:nvSpPr>
          <p:spPr>
            <a:xfrm>
              <a:off x="833559" y="15253284"/>
              <a:ext cx="282393" cy="200255"/>
            </a:xfrm>
            <a:custGeom>
              <a:avLst/>
              <a:gdLst>
                <a:gd name="connsiteX0" fmla="*/ 13409 w 282393"/>
                <a:gd name="connsiteY0" fmla="*/ 99525 h 200255"/>
                <a:gd name="connsiteX1" fmla="*/ 2318 w 282393"/>
                <a:gd name="connsiteY1" fmla="*/ 99525 h 200255"/>
                <a:gd name="connsiteX2" fmla="*/ 2318 w 282393"/>
                <a:gd name="connsiteY2" fmla="*/ 110617 h 200255"/>
                <a:gd name="connsiteX3" fmla="*/ 90502 w 282393"/>
                <a:gd name="connsiteY3" fmla="*/ 197892 h 200255"/>
                <a:gd name="connsiteX4" fmla="*/ 95957 w 282393"/>
                <a:gd name="connsiteY4" fmla="*/ 200255 h 200255"/>
                <a:gd name="connsiteX5" fmla="*/ 95957 w 282393"/>
                <a:gd name="connsiteY5" fmla="*/ 200255 h 200255"/>
                <a:gd name="connsiteX6" fmla="*/ 101593 w 282393"/>
                <a:gd name="connsiteY6" fmla="*/ 197892 h 200255"/>
                <a:gd name="connsiteX7" fmla="*/ 280143 w 282393"/>
                <a:gd name="connsiteY7" fmla="*/ 13341 h 200255"/>
                <a:gd name="connsiteX8" fmla="*/ 280143 w 282393"/>
                <a:gd name="connsiteY8" fmla="*/ 2250 h 200255"/>
                <a:gd name="connsiteX9" fmla="*/ 269052 w 282393"/>
                <a:gd name="connsiteY9" fmla="*/ 2250 h 200255"/>
                <a:gd name="connsiteX10" fmla="*/ 95957 w 282393"/>
                <a:gd name="connsiteY10" fmla="*/ 181164 h 200255"/>
                <a:gd name="connsiteX11" fmla="*/ 13409 w 282393"/>
                <a:gd name="connsiteY11" fmla="*/ 99525 h 200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93" h="200255">
                  <a:moveTo>
                    <a:pt x="13409" y="99525"/>
                  </a:moveTo>
                  <a:cubicBezTo>
                    <a:pt x="10318" y="96434"/>
                    <a:pt x="5409" y="96434"/>
                    <a:pt x="2318" y="99525"/>
                  </a:cubicBezTo>
                  <a:cubicBezTo>
                    <a:pt x="-773" y="102617"/>
                    <a:pt x="-773" y="107525"/>
                    <a:pt x="2318" y="110617"/>
                  </a:cubicBezTo>
                  <a:lnTo>
                    <a:pt x="90502" y="197892"/>
                  </a:lnTo>
                  <a:cubicBezTo>
                    <a:pt x="91957" y="199346"/>
                    <a:pt x="93957" y="200255"/>
                    <a:pt x="95957" y="200255"/>
                  </a:cubicBezTo>
                  <a:lnTo>
                    <a:pt x="95957" y="200255"/>
                  </a:lnTo>
                  <a:cubicBezTo>
                    <a:pt x="98139" y="200255"/>
                    <a:pt x="100139" y="199346"/>
                    <a:pt x="101593" y="197892"/>
                  </a:cubicBezTo>
                  <a:lnTo>
                    <a:pt x="280143" y="13341"/>
                  </a:lnTo>
                  <a:cubicBezTo>
                    <a:pt x="283234" y="10251"/>
                    <a:pt x="283052" y="5159"/>
                    <a:pt x="280143" y="2250"/>
                  </a:cubicBezTo>
                  <a:cubicBezTo>
                    <a:pt x="277052" y="-840"/>
                    <a:pt x="271961" y="-658"/>
                    <a:pt x="269052" y="2250"/>
                  </a:cubicBezTo>
                  <a:lnTo>
                    <a:pt x="95957" y="181164"/>
                  </a:lnTo>
                  <a:lnTo>
                    <a:pt x="13409" y="99525"/>
                  </a:lnTo>
                  <a:close/>
                </a:path>
              </a:pathLst>
            </a:custGeom>
            <a:grpFill/>
            <a:ln w="18179" cap="flat">
              <a:noFill/>
              <a:prstDash val="solid"/>
              <a:miter/>
            </a:ln>
          </p:spPr>
          <p:txBody>
            <a:bodyPr rtlCol="0" anchor="ctr"/>
            <a:lstStyle/>
            <a:p>
              <a:endParaRPr lang="en-AU" sz="1000"/>
            </a:p>
          </p:txBody>
        </p:sp>
      </p:grpSp>
      <p:sp>
        <p:nvSpPr>
          <p:cNvPr id="158" name="TextBox 157">
            <a:extLst>
              <a:ext uri="{FF2B5EF4-FFF2-40B4-BE49-F238E27FC236}">
                <a16:creationId xmlns:a16="http://schemas.microsoft.com/office/drawing/2014/main" id="{ACD5ABB6-0E79-FA4D-2365-C905048E681B}"/>
              </a:ext>
            </a:extLst>
          </p:cNvPr>
          <p:cNvSpPr txBox="1"/>
          <p:nvPr/>
        </p:nvSpPr>
        <p:spPr>
          <a:xfrm>
            <a:off x="2422207" y="1640641"/>
            <a:ext cx="1355871" cy="553998"/>
          </a:xfrm>
          <a:prstGeom prst="rect">
            <a:avLst/>
          </a:prstGeom>
          <a:solidFill>
            <a:schemeClr val="accent6"/>
          </a:solidFill>
        </p:spPr>
        <p:txBody>
          <a:bodyPr wrap="square">
            <a:noAutofit/>
          </a:bodyPr>
          <a:lstStyle/>
          <a:p>
            <a:pPr algn="ctr"/>
            <a:r>
              <a:rPr lang="en-AU" sz="1000" dirty="0">
                <a:solidFill>
                  <a:schemeClr val="bg1"/>
                </a:solidFill>
              </a:rPr>
              <a:t>Applicant lodges a complete application</a:t>
            </a:r>
          </a:p>
        </p:txBody>
      </p:sp>
      <p:sp>
        <p:nvSpPr>
          <p:cNvPr id="61" name="Rectangle 60">
            <a:extLst>
              <a:ext uri="{FF2B5EF4-FFF2-40B4-BE49-F238E27FC236}">
                <a16:creationId xmlns:a16="http://schemas.microsoft.com/office/drawing/2014/main" id="{9ABD4016-367A-6EF7-AC13-F31B797F7B74}"/>
              </a:ext>
            </a:extLst>
          </p:cNvPr>
          <p:cNvSpPr/>
          <p:nvPr/>
        </p:nvSpPr>
        <p:spPr>
          <a:xfrm>
            <a:off x="2615271" y="2867589"/>
            <a:ext cx="1162807" cy="2322794"/>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200"/>
              </a:spcAft>
            </a:pPr>
            <a:r>
              <a:rPr lang="en-AU" sz="1000" b="1" dirty="0">
                <a:solidFill>
                  <a:schemeClr val="accent6"/>
                </a:solidFill>
              </a:rPr>
              <a:t>Day 0</a:t>
            </a:r>
          </a:p>
          <a:p>
            <a:pPr defTabSz="466522">
              <a:spcAft>
                <a:spcPts val="200"/>
              </a:spcAft>
            </a:pPr>
            <a:r>
              <a:rPr lang="en-AU" sz="1000" b="1" dirty="0">
                <a:solidFill>
                  <a:srgbClr val="017D7D"/>
                </a:solidFill>
              </a:rPr>
              <a:t>Lodgement</a:t>
            </a:r>
          </a:p>
          <a:p>
            <a:pPr defTabSz="466522">
              <a:spcAft>
                <a:spcPts val="600"/>
              </a:spcAft>
            </a:pPr>
            <a:r>
              <a:rPr lang="en-AU" sz="1000" dirty="0">
                <a:solidFill>
                  <a:schemeClr val="accent6"/>
                </a:solidFill>
                <a:cs typeface="Segoe UI Semilight"/>
              </a:rPr>
              <a:t>Applicant lodges request for extension of time. This includes the application form and any supporting documents such as photos, or a letter from a builder etc. </a:t>
            </a:r>
          </a:p>
          <a:p>
            <a:pPr defTabSz="466522">
              <a:spcAft>
                <a:spcPts val="600"/>
              </a:spcAft>
            </a:pPr>
            <a:r>
              <a:rPr lang="en-AU" sz="1000" dirty="0">
                <a:solidFill>
                  <a:schemeClr val="accent6"/>
                </a:solidFill>
                <a:cs typeface="Segoe UI Semilight"/>
              </a:rPr>
              <a:t>Council lodgement system issues automated receipt of submission. </a:t>
            </a:r>
          </a:p>
        </p:txBody>
      </p:sp>
      <p:sp>
        <p:nvSpPr>
          <p:cNvPr id="159" name="TextBox 158">
            <a:extLst>
              <a:ext uri="{FF2B5EF4-FFF2-40B4-BE49-F238E27FC236}">
                <a16:creationId xmlns:a16="http://schemas.microsoft.com/office/drawing/2014/main" id="{2061F8FF-3D9B-FB17-7AAA-52FDC4602171}"/>
              </a:ext>
            </a:extLst>
          </p:cNvPr>
          <p:cNvSpPr txBox="1"/>
          <p:nvPr/>
        </p:nvSpPr>
        <p:spPr>
          <a:xfrm>
            <a:off x="3890929" y="1640641"/>
            <a:ext cx="5321169" cy="552516"/>
          </a:xfrm>
          <a:prstGeom prst="rect">
            <a:avLst/>
          </a:prstGeom>
          <a:solidFill>
            <a:schemeClr val="accent6"/>
          </a:solidFill>
        </p:spPr>
        <p:txBody>
          <a:bodyPr wrap="square">
            <a:noAutofit/>
          </a:bodyPr>
          <a:lstStyle/>
          <a:p>
            <a:pPr algn="ctr"/>
            <a:r>
              <a:rPr lang="en-AU" sz="1000" dirty="0">
                <a:solidFill>
                  <a:schemeClr val="bg1"/>
                </a:solidFill>
              </a:rPr>
              <a:t>Council efficiently assesses each application and consistently identifies missing information necessary to decide on the amendment application. The applicant is given the opportunity to provide further information to support Council’s decision</a:t>
            </a:r>
          </a:p>
        </p:txBody>
      </p:sp>
      <p:sp>
        <p:nvSpPr>
          <p:cNvPr id="53" name="Rectangle 52">
            <a:extLst>
              <a:ext uri="{FF2B5EF4-FFF2-40B4-BE49-F238E27FC236}">
                <a16:creationId xmlns:a16="http://schemas.microsoft.com/office/drawing/2014/main" id="{D17506E0-9DD0-8AFE-54C7-813425423AB1}"/>
              </a:ext>
            </a:extLst>
          </p:cNvPr>
          <p:cNvSpPr/>
          <p:nvPr/>
        </p:nvSpPr>
        <p:spPr>
          <a:xfrm>
            <a:off x="3985607" y="2873705"/>
            <a:ext cx="1474939" cy="43921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200"/>
              </a:spcAft>
            </a:pPr>
            <a:r>
              <a:rPr lang="en-AU" sz="1000" b="1" dirty="0">
                <a:solidFill>
                  <a:schemeClr val="accent6"/>
                </a:solidFill>
              </a:rPr>
              <a:t>Day 1-2</a:t>
            </a:r>
          </a:p>
          <a:p>
            <a:pPr defTabSz="466522">
              <a:spcAft>
                <a:spcPts val="200"/>
              </a:spcAft>
            </a:pPr>
            <a:r>
              <a:rPr lang="en-AU" sz="1000" b="1" dirty="0">
                <a:solidFill>
                  <a:srgbClr val="017D7D"/>
                </a:solidFill>
              </a:rPr>
              <a:t>Registration and Allocation</a:t>
            </a:r>
          </a:p>
          <a:p>
            <a:pPr defTabSz="466522">
              <a:spcAft>
                <a:spcPts val="600"/>
              </a:spcAft>
            </a:pPr>
            <a:r>
              <a:rPr lang="en-AU" sz="1000" dirty="0">
                <a:solidFill>
                  <a:schemeClr val="accent6"/>
                </a:solidFill>
                <a:cs typeface="Segoe UI Semilight"/>
              </a:rPr>
              <a:t>Council receives the request.</a:t>
            </a:r>
          </a:p>
          <a:p>
            <a:pPr defTabSz="466522">
              <a:spcAft>
                <a:spcPts val="600"/>
              </a:spcAft>
            </a:pPr>
            <a:r>
              <a:rPr lang="en-AU" sz="1000" dirty="0">
                <a:solidFill>
                  <a:schemeClr val="accent6"/>
                </a:solidFill>
                <a:cs typeface="Segoe UI Semilight"/>
              </a:rPr>
              <a:t>Planning support uploads application to enterprise software (if relevant).</a:t>
            </a:r>
          </a:p>
          <a:p>
            <a:pPr defTabSz="466522">
              <a:spcAft>
                <a:spcPts val="600"/>
              </a:spcAft>
            </a:pPr>
            <a:r>
              <a:rPr lang="en-AU" sz="1000" dirty="0">
                <a:solidFill>
                  <a:schemeClr val="accent6"/>
                </a:solidFill>
                <a:cs typeface="Segoe UI Semilight"/>
              </a:rPr>
              <a:t>Planning support updates planning permit application register. </a:t>
            </a:r>
          </a:p>
          <a:p>
            <a:pPr defTabSz="466522">
              <a:spcAft>
                <a:spcPts val="600"/>
              </a:spcAft>
            </a:pPr>
            <a:r>
              <a:rPr lang="en-AU" sz="1000" dirty="0">
                <a:solidFill>
                  <a:schemeClr val="accent6"/>
                </a:solidFill>
                <a:cs typeface="Segoe UI Semilight"/>
              </a:rPr>
              <a:t>Planning support sends an email to applicant confirming the council has received their application.</a:t>
            </a:r>
          </a:p>
          <a:p>
            <a:pPr defTabSz="466522">
              <a:spcAft>
                <a:spcPts val="600"/>
              </a:spcAft>
            </a:pPr>
            <a:r>
              <a:rPr lang="en-AU" sz="1000" dirty="0">
                <a:solidFill>
                  <a:schemeClr val="accent6"/>
                </a:solidFill>
                <a:cs typeface="Segoe UI Semilight"/>
              </a:rPr>
              <a:t>Planning support issues invoices for unpaid fees or remittance advice. </a:t>
            </a:r>
          </a:p>
          <a:p>
            <a:pPr defTabSz="466522">
              <a:spcAft>
                <a:spcPts val="600"/>
              </a:spcAft>
            </a:pPr>
            <a:r>
              <a:rPr lang="en-AU" sz="1000" dirty="0">
                <a:solidFill>
                  <a:schemeClr val="accent6"/>
                </a:solidFill>
                <a:cs typeface="Segoe UI Semilight"/>
              </a:rPr>
              <a:t>Council planning management team reviews application and allocates to a planner.</a:t>
            </a:r>
          </a:p>
          <a:p>
            <a:pPr defTabSz="466522">
              <a:spcAft>
                <a:spcPts val="600"/>
              </a:spcAft>
            </a:pPr>
            <a:r>
              <a:rPr lang="en-AU" sz="1000" dirty="0">
                <a:solidFill>
                  <a:schemeClr val="accent6"/>
                </a:solidFill>
                <a:cs typeface="Segoe UI Semilight"/>
              </a:rPr>
              <a:t>Allocated planner is notified of the application.</a:t>
            </a:r>
          </a:p>
          <a:p>
            <a:pPr defTabSz="466522">
              <a:spcAft>
                <a:spcPts val="200"/>
              </a:spcAft>
            </a:pPr>
            <a:endParaRPr lang="en-AU" sz="1000" b="1" dirty="0">
              <a:solidFill>
                <a:srgbClr val="7F0D82"/>
              </a:solidFill>
            </a:endParaRPr>
          </a:p>
        </p:txBody>
      </p:sp>
      <p:sp>
        <p:nvSpPr>
          <p:cNvPr id="25" name="TextBox 24">
            <a:extLst>
              <a:ext uri="{FF2B5EF4-FFF2-40B4-BE49-F238E27FC236}">
                <a16:creationId xmlns:a16="http://schemas.microsoft.com/office/drawing/2014/main" id="{15CC52E9-B844-3BCF-909A-4691D2B078E8}"/>
              </a:ext>
            </a:extLst>
          </p:cNvPr>
          <p:cNvSpPr txBox="1"/>
          <p:nvPr/>
        </p:nvSpPr>
        <p:spPr>
          <a:xfrm>
            <a:off x="5748202" y="6054406"/>
            <a:ext cx="1465445" cy="861774"/>
          </a:xfrm>
          <a:prstGeom prst="rect">
            <a:avLst/>
          </a:prstGeom>
          <a:noFill/>
          <a:ln>
            <a:solidFill>
              <a:schemeClr val="tx2"/>
            </a:solidFill>
          </a:ln>
        </p:spPr>
        <p:txBody>
          <a:bodyPr wrap="square">
            <a:spAutoFit/>
          </a:bodyPr>
          <a:lstStyle/>
          <a:p>
            <a:pPr marL="0" marR="0" lvl="0" indent="0" algn="l" defTabSz="466522"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Semilight"/>
              </a:rPr>
              <a:t>Ideally, the extension of time request will be allocated to the same planner who issued the original permit. </a:t>
            </a:r>
          </a:p>
        </p:txBody>
      </p:sp>
      <p:sp>
        <p:nvSpPr>
          <p:cNvPr id="40" name="Rectangle 39">
            <a:extLst>
              <a:ext uri="{FF2B5EF4-FFF2-40B4-BE49-F238E27FC236}">
                <a16:creationId xmlns:a16="http://schemas.microsoft.com/office/drawing/2014/main" id="{9625DE0C-DE6A-1D4F-383A-DAE2B5C336F5}"/>
              </a:ext>
            </a:extLst>
          </p:cNvPr>
          <p:cNvSpPr/>
          <p:nvPr/>
        </p:nvSpPr>
        <p:spPr>
          <a:xfrm>
            <a:off x="5721938" y="2873705"/>
            <a:ext cx="1121561"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2-7</a:t>
            </a:r>
          </a:p>
          <a:p>
            <a:pPr defTabSz="466522">
              <a:spcAft>
                <a:spcPts val="300"/>
              </a:spcAft>
            </a:pPr>
            <a:r>
              <a:rPr lang="en-AU" sz="1000" b="1" dirty="0">
                <a:solidFill>
                  <a:srgbClr val="017D7D"/>
                </a:solidFill>
              </a:rPr>
              <a:t>Assessment</a:t>
            </a:r>
          </a:p>
          <a:p>
            <a:pPr defTabSz="466522">
              <a:spcAft>
                <a:spcPts val="600"/>
              </a:spcAft>
            </a:pPr>
            <a:r>
              <a:rPr lang="en-AU" sz="1000" dirty="0">
                <a:solidFill>
                  <a:schemeClr val="accent6"/>
                </a:solidFill>
                <a:cs typeface="Segoe UI Semilight"/>
              </a:rPr>
              <a:t>The allocated planner undertakes an assessment of the request to:</a:t>
            </a:r>
          </a:p>
          <a:p>
            <a:pPr defTabSz="466522">
              <a:spcAft>
                <a:spcPts val="600"/>
              </a:spcAft>
            </a:pPr>
            <a:r>
              <a:rPr lang="en-AU" sz="1000" dirty="0">
                <a:solidFill>
                  <a:schemeClr val="accent6"/>
                </a:solidFill>
                <a:cs typeface="Segoe UI Semilight"/>
              </a:rPr>
              <a:t>identify any missing justification or information that is required for the planner to reach a decision. </a:t>
            </a:r>
          </a:p>
        </p:txBody>
      </p:sp>
      <p:sp>
        <p:nvSpPr>
          <p:cNvPr id="43" name="Rectangle 42">
            <a:extLst>
              <a:ext uri="{FF2B5EF4-FFF2-40B4-BE49-F238E27FC236}">
                <a16:creationId xmlns:a16="http://schemas.microsoft.com/office/drawing/2014/main" id="{C75D4DCA-A74E-48EC-6E13-5B448EB30342}"/>
              </a:ext>
            </a:extLst>
          </p:cNvPr>
          <p:cNvSpPr/>
          <p:nvPr/>
        </p:nvSpPr>
        <p:spPr>
          <a:xfrm>
            <a:off x="6962413" y="2873705"/>
            <a:ext cx="1091016" cy="4102969"/>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7-14</a:t>
            </a:r>
          </a:p>
          <a:p>
            <a:pPr defTabSz="466522">
              <a:spcAft>
                <a:spcPts val="300"/>
              </a:spcAft>
            </a:pPr>
            <a:r>
              <a:rPr lang="en-AU" sz="1000" b="1" dirty="0">
                <a:solidFill>
                  <a:srgbClr val="017D7D"/>
                </a:solidFill>
              </a:rPr>
              <a:t>Information Request </a:t>
            </a:r>
            <a:br>
              <a:rPr lang="en-AU" sz="1000" b="1" dirty="0">
                <a:solidFill>
                  <a:srgbClr val="017D7D"/>
                </a:solidFill>
              </a:rPr>
            </a:br>
            <a:r>
              <a:rPr lang="en-AU" sz="1000" dirty="0">
                <a:solidFill>
                  <a:srgbClr val="017D7D"/>
                </a:solidFill>
              </a:rPr>
              <a:t>(if required)</a:t>
            </a:r>
          </a:p>
          <a:p>
            <a:pPr defTabSz="466522">
              <a:spcAft>
                <a:spcPts val="600"/>
              </a:spcAft>
            </a:pPr>
            <a:r>
              <a:rPr lang="en-AU" sz="1000" dirty="0">
                <a:solidFill>
                  <a:schemeClr val="accent6"/>
                </a:solidFill>
                <a:cs typeface="Segoe UI Semilight"/>
              </a:rPr>
              <a:t>Applicant receives a request for further explanation/</a:t>
            </a:r>
            <a:br>
              <a:rPr lang="en-AU" sz="1000" dirty="0">
                <a:solidFill>
                  <a:schemeClr val="accent6"/>
                </a:solidFill>
                <a:cs typeface="Segoe UI Semilight"/>
              </a:rPr>
            </a:br>
            <a:r>
              <a:rPr lang="en-AU" sz="1000" dirty="0">
                <a:solidFill>
                  <a:schemeClr val="accent6"/>
                </a:solidFill>
                <a:cs typeface="Segoe UI Semilight"/>
              </a:rPr>
              <a:t>justification</a:t>
            </a:r>
          </a:p>
          <a:p>
            <a:pPr defTabSz="466522"/>
            <a:r>
              <a:rPr lang="en-AU" sz="1000" dirty="0">
                <a:solidFill>
                  <a:schemeClr val="accent6"/>
                </a:solidFill>
                <a:cs typeface="Segoe UI Semilight"/>
              </a:rPr>
              <a:t>If necessary, the planner can request further information or justification for the request from the applicant</a:t>
            </a:r>
          </a:p>
          <a:p>
            <a:pPr defTabSz="466522"/>
            <a:endParaRPr lang="en-AU" sz="1000" dirty="0">
              <a:solidFill>
                <a:schemeClr val="accent6"/>
              </a:solidFill>
              <a:cs typeface="Segoe UI Semilight"/>
            </a:endParaRPr>
          </a:p>
        </p:txBody>
      </p:sp>
      <p:sp>
        <p:nvSpPr>
          <p:cNvPr id="46" name="Rectangle 45">
            <a:extLst>
              <a:ext uri="{FF2B5EF4-FFF2-40B4-BE49-F238E27FC236}">
                <a16:creationId xmlns:a16="http://schemas.microsoft.com/office/drawing/2014/main" id="{F7340380-8535-65C9-ED26-FA1F6883C0AA}"/>
              </a:ext>
            </a:extLst>
          </p:cNvPr>
          <p:cNvSpPr/>
          <p:nvPr/>
        </p:nvSpPr>
        <p:spPr>
          <a:xfrm>
            <a:off x="8195905" y="2873705"/>
            <a:ext cx="1123201"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defTabSz="466522">
              <a:spcAft>
                <a:spcPts val="300"/>
              </a:spcAft>
            </a:pPr>
            <a:r>
              <a:rPr lang="en-AU" sz="1000" b="1" dirty="0">
                <a:solidFill>
                  <a:schemeClr val="accent6"/>
                </a:solidFill>
              </a:rPr>
              <a:t>Day 14-21</a:t>
            </a:r>
          </a:p>
          <a:p>
            <a:pPr defTabSz="466522">
              <a:spcAft>
                <a:spcPts val="300"/>
              </a:spcAft>
            </a:pPr>
            <a:r>
              <a:rPr lang="en-AU" sz="1000" b="1" dirty="0">
                <a:solidFill>
                  <a:srgbClr val="017D7D"/>
                </a:solidFill>
                <a:cs typeface="Segoe UI"/>
              </a:rPr>
              <a:t>Review of Additional Information </a:t>
            </a:r>
            <a:br>
              <a:rPr lang="en-AU" sz="1000" b="1" dirty="0">
                <a:solidFill>
                  <a:srgbClr val="017D7D"/>
                </a:solidFill>
                <a:cs typeface="Segoe UI"/>
              </a:rPr>
            </a:br>
            <a:r>
              <a:rPr lang="en-AU" sz="1000" dirty="0">
                <a:solidFill>
                  <a:srgbClr val="017D7D"/>
                </a:solidFill>
                <a:cs typeface="Segoe UI"/>
              </a:rPr>
              <a:t>(if required) </a:t>
            </a:r>
          </a:p>
          <a:p>
            <a:pPr>
              <a:spcAft>
                <a:spcPts val="600"/>
              </a:spcAft>
            </a:pPr>
            <a:r>
              <a:rPr lang="en-AU" sz="1000" dirty="0">
                <a:solidFill>
                  <a:schemeClr val="accent6"/>
                </a:solidFill>
              </a:rPr>
              <a:t>Applicant provides additional information/</a:t>
            </a:r>
            <a:br>
              <a:rPr lang="en-AU" sz="1000" dirty="0">
                <a:solidFill>
                  <a:schemeClr val="accent6"/>
                </a:solidFill>
              </a:rPr>
            </a:br>
            <a:r>
              <a:rPr lang="en-AU" sz="1000" dirty="0">
                <a:solidFill>
                  <a:schemeClr val="accent6"/>
                </a:solidFill>
              </a:rPr>
              <a:t>justification for the request.</a:t>
            </a:r>
          </a:p>
          <a:p>
            <a:pPr>
              <a:spcAft>
                <a:spcPts val="600"/>
              </a:spcAft>
            </a:pPr>
            <a:r>
              <a:rPr lang="en-AU" sz="1000" dirty="0">
                <a:solidFill>
                  <a:schemeClr val="accent6"/>
                </a:solidFill>
              </a:rPr>
              <a:t>Council receives additional information.</a:t>
            </a:r>
          </a:p>
          <a:p>
            <a:pPr>
              <a:spcAft>
                <a:spcPts val="600"/>
              </a:spcAft>
            </a:pPr>
            <a:r>
              <a:rPr lang="en-AU" sz="1000" dirty="0">
                <a:solidFill>
                  <a:schemeClr val="accent6"/>
                </a:solidFill>
              </a:rPr>
              <a:t>Planner reviews the supplied information within one week of receiving it.</a:t>
            </a:r>
          </a:p>
          <a:p>
            <a:pPr>
              <a:spcAft>
                <a:spcPts val="600"/>
              </a:spcAft>
            </a:pPr>
            <a:endParaRPr lang="en-AU" sz="1000" dirty="0">
              <a:solidFill>
                <a:schemeClr val="accent6"/>
              </a:solidFill>
            </a:endParaRPr>
          </a:p>
        </p:txBody>
      </p:sp>
      <p:sp>
        <p:nvSpPr>
          <p:cNvPr id="160" name="TextBox 159">
            <a:extLst>
              <a:ext uri="{FF2B5EF4-FFF2-40B4-BE49-F238E27FC236}">
                <a16:creationId xmlns:a16="http://schemas.microsoft.com/office/drawing/2014/main" id="{2DEBEB8E-55A5-FF8A-57ED-E18212D29FE6}"/>
              </a:ext>
            </a:extLst>
          </p:cNvPr>
          <p:cNvSpPr txBox="1"/>
          <p:nvPr/>
        </p:nvSpPr>
        <p:spPr>
          <a:xfrm>
            <a:off x="9319107" y="1640640"/>
            <a:ext cx="1147012" cy="552515"/>
          </a:xfrm>
          <a:prstGeom prst="rect">
            <a:avLst/>
          </a:prstGeom>
          <a:solidFill>
            <a:schemeClr val="accent6"/>
          </a:solidFill>
        </p:spPr>
        <p:txBody>
          <a:bodyPr wrap="square">
            <a:noAutofit/>
          </a:bodyPr>
          <a:lstStyle/>
          <a:p>
            <a:pPr algn="ctr"/>
            <a:r>
              <a:rPr lang="en-AU" sz="1000" dirty="0">
                <a:solidFill>
                  <a:schemeClr val="bg1"/>
                </a:solidFill>
              </a:rPr>
              <a:t>Council Issues a Decision</a:t>
            </a:r>
          </a:p>
        </p:txBody>
      </p:sp>
      <p:sp>
        <p:nvSpPr>
          <p:cNvPr id="48" name="Rectangle 47">
            <a:extLst>
              <a:ext uri="{FF2B5EF4-FFF2-40B4-BE49-F238E27FC236}">
                <a16:creationId xmlns:a16="http://schemas.microsoft.com/office/drawing/2014/main" id="{8666B286-52AB-9C13-8479-D5E3386D77D7}"/>
              </a:ext>
            </a:extLst>
          </p:cNvPr>
          <p:cNvSpPr/>
          <p:nvPr/>
        </p:nvSpPr>
        <p:spPr>
          <a:xfrm>
            <a:off x="9439661" y="2873705"/>
            <a:ext cx="1026457" cy="2035331"/>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466522">
              <a:spcAft>
                <a:spcPts val="300"/>
              </a:spcAft>
            </a:pPr>
            <a:r>
              <a:rPr lang="en-AU" sz="1000" b="1" dirty="0">
                <a:solidFill>
                  <a:schemeClr val="accent6"/>
                </a:solidFill>
              </a:rPr>
              <a:t>Day 21-30 </a:t>
            </a:r>
            <a:r>
              <a:rPr lang="en-AU" sz="1000" b="1" dirty="0">
                <a:solidFill>
                  <a:srgbClr val="017D7D"/>
                </a:solidFill>
              </a:rPr>
              <a:t>Decision issued</a:t>
            </a:r>
          </a:p>
          <a:p>
            <a:pPr defTabSz="466522">
              <a:spcAft>
                <a:spcPts val="600"/>
              </a:spcAft>
            </a:pPr>
            <a:r>
              <a:rPr lang="en-AU" sz="1000" dirty="0">
                <a:solidFill>
                  <a:schemeClr val="accent6"/>
                </a:solidFill>
                <a:cs typeface="Segoe UI Semilight"/>
              </a:rPr>
              <a:t>Applicant receives the decision and formal extension letter (if approved).</a:t>
            </a:r>
          </a:p>
          <a:p>
            <a:pPr defTabSz="466522">
              <a:spcAft>
                <a:spcPts val="600"/>
              </a:spcAft>
            </a:pPr>
            <a:r>
              <a:rPr lang="en-AU" sz="1000" dirty="0">
                <a:solidFill>
                  <a:schemeClr val="accent6"/>
                </a:solidFill>
                <a:cs typeface="Segoe UI Semilight"/>
              </a:rPr>
              <a:t>Council issues a formal decision on the extension of time in the form of a letter.</a:t>
            </a:r>
          </a:p>
        </p:txBody>
      </p:sp>
      <p:cxnSp>
        <p:nvCxnSpPr>
          <p:cNvPr id="41" name="Straight Connector 40">
            <a:extLst>
              <a:ext uri="{FF2B5EF4-FFF2-40B4-BE49-F238E27FC236}">
                <a16:creationId xmlns:a16="http://schemas.microsoft.com/office/drawing/2014/main" id="{FDD33229-B127-4FD6-DAFA-70F2689D479C}"/>
              </a:ext>
              <a:ext uri="{C183D7F6-B498-43B3-948B-1728B52AA6E4}">
                <adec:decorative xmlns:adec="http://schemas.microsoft.com/office/drawing/2017/decorative" val="1"/>
              </a:ext>
            </a:extLst>
          </p:cNvPr>
          <p:cNvCxnSpPr>
            <a:cxnSpLocks/>
            <a:stCxn id="130" idx="4"/>
          </p:cNvCxnSpPr>
          <p:nvPr/>
        </p:nvCxnSpPr>
        <p:spPr>
          <a:xfrm>
            <a:off x="5613291"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42" name="Graphic 10">
            <a:extLst>
              <a:ext uri="{FF2B5EF4-FFF2-40B4-BE49-F238E27FC236}">
                <a16:creationId xmlns:a16="http://schemas.microsoft.com/office/drawing/2014/main" id="{2954446B-8AD5-9F86-4C39-FC248D313046}"/>
              </a:ext>
              <a:ext uri="{C183D7F6-B498-43B3-948B-1728B52AA6E4}">
                <adec:decorative xmlns:adec="http://schemas.microsoft.com/office/drawing/2017/decorative" val="1"/>
              </a:ext>
            </a:extLst>
          </p:cNvPr>
          <p:cNvGrpSpPr/>
          <p:nvPr/>
        </p:nvGrpSpPr>
        <p:grpSpPr>
          <a:xfrm>
            <a:off x="6943065" y="2650570"/>
            <a:ext cx="229011" cy="229011"/>
            <a:chOff x="4793612" y="3718427"/>
            <a:chExt cx="255295" cy="255295"/>
          </a:xfrm>
          <a:solidFill>
            <a:schemeClr val="accent5"/>
          </a:solidFill>
        </p:grpSpPr>
        <p:sp>
          <p:nvSpPr>
            <p:cNvPr id="153" name="Freeform: Shape 152">
              <a:extLst>
                <a:ext uri="{FF2B5EF4-FFF2-40B4-BE49-F238E27FC236}">
                  <a16:creationId xmlns:a16="http://schemas.microsoft.com/office/drawing/2014/main" id="{11DA316A-7312-2C36-032C-311A88418C0A}"/>
                </a:ext>
              </a:extLst>
            </p:cNvPr>
            <p:cNvSpPr/>
            <p:nvPr/>
          </p:nvSpPr>
          <p:spPr>
            <a:xfrm>
              <a:off x="4793612" y="3718427"/>
              <a:ext cx="255295" cy="255295"/>
            </a:xfrm>
            <a:custGeom>
              <a:avLst/>
              <a:gdLst>
                <a:gd name="connsiteX0" fmla="*/ 127648 w 255295"/>
                <a:gd name="connsiteY0" fmla="*/ 243775 h 255295"/>
                <a:gd name="connsiteX1" fmla="*/ 11521 w 255295"/>
                <a:gd name="connsiteY1" fmla="*/ 127648 h 255295"/>
                <a:gd name="connsiteX2" fmla="*/ 127648 w 255295"/>
                <a:gd name="connsiteY2" fmla="*/ 11521 h 255295"/>
                <a:gd name="connsiteX3" fmla="*/ 243774 w 255295"/>
                <a:gd name="connsiteY3" fmla="*/ 127648 h 255295"/>
                <a:gd name="connsiteX4" fmla="*/ 127648 w 255295"/>
                <a:gd name="connsiteY4" fmla="*/ 243775 h 255295"/>
                <a:gd name="connsiteX5" fmla="*/ 127648 w 255295"/>
                <a:gd name="connsiteY5" fmla="*/ 0 h 255295"/>
                <a:gd name="connsiteX6" fmla="*/ 0 w 255295"/>
                <a:gd name="connsiteY6" fmla="*/ 127648 h 255295"/>
                <a:gd name="connsiteX7" fmla="*/ 127648 w 255295"/>
                <a:gd name="connsiteY7" fmla="*/ 255296 h 255295"/>
                <a:gd name="connsiteX8" fmla="*/ 255296 w 255295"/>
                <a:gd name="connsiteY8" fmla="*/ 127648 h 255295"/>
                <a:gd name="connsiteX9" fmla="*/ 127648 w 255295"/>
                <a:gd name="connsiteY9" fmla="*/ 0 h 2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95" h="255295">
                  <a:moveTo>
                    <a:pt x="127648" y="243775"/>
                  </a:moveTo>
                  <a:cubicBezTo>
                    <a:pt x="63539" y="243775"/>
                    <a:pt x="11521" y="191871"/>
                    <a:pt x="11521" y="127648"/>
                  </a:cubicBezTo>
                  <a:cubicBezTo>
                    <a:pt x="11521" y="63425"/>
                    <a:pt x="63425" y="11521"/>
                    <a:pt x="127648" y="11521"/>
                  </a:cubicBezTo>
                  <a:cubicBezTo>
                    <a:pt x="191871" y="11521"/>
                    <a:pt x="243774" y="63425"/>
                    <a:pt x="243774" y="127648"/>
                  </a:cubicBezTo>
                  <a:cubicBezTo>
                    <a:pt x="243774" y="191871"/>
                    <a:pt x="191871" y="243775"/>
                    <a:pt x="127648" y="243775"/>
                  </a:cubicBezTo>
                  <a:moveTo>
                    <a:pt x="127648" y="0"/>
                  </a:moveTo>
                  <a:cubicBezTo>
                    <a:pt x="57151" y="0"/>
                    <a:pt x="0" y="57151"/>
                    <a:pt x="0" y="127648"/>
                  </a:cubicBezTo>
                  <a:cubicBezTo>
                    <a:pt x="0" y="198145"/>
                    <a:pt x="57151" y="255296"/>
                    <a:pt x="127648" y="255296"/>
                  </a:cubicBezTo>
                  <a:cubicBezTo>
                    <a:pt x="198145" y="255296"/>
                    <a:pt x="255296" y="198145"/>
                    <a:pt x="255296" y="127648"/>
                  </a:cubicBezTo>
                  <a:cubicBezTo>
                    <a:pt x="255296" y="57151"/>
                    <a:pt x="198145" y="0"/>
                    <a:pt x="127648"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4" name="Freeform: Shape 153">
              <a:extLst>
                <a:ext uri="{FF2B5EF4-FFF2-40B4-BE49-F238E27FC236}">
                  <a16:creationId xmlns:a16="http://schemas.microsoft.com/office/drawing/2014/main" id="{9577A467-DE07-8B9A-6B52-46A2DFFB6788}"/>
                </a:ext>
              </a:extLst>
            </p:cNvPr>
            <p:cNvSpPr/>
            <p:nvPr/>
          </p:nvSpPr>
          <p:spPr>
            <a:xfrm>
              <a:off x="4793612" y="3718427"/>
              <a:ext cx="255295" cy="255295"/>
            </a:xfrm>
            <a:custGeom>
              <a:avLst/>
              <a:gdLst>
                <a:gd name="connsiteX0" fmla="*/ 127648 w 255295"/>
                <a:gd name="connsiteY0" fmla="*/ 243775 h 255295"/>
                <a:gd name="connsiteX1" fmla="*/ 11521 w 255295"/>
                <a:gd name="connsiteY1" fmla="*/ 127648 h 255295"/>
                <a:gd name="connsiteX2" fmla="*/ 127648 w 255295"/>
                <a:gd name="connsiteY2" fmla="*/ 11521 h 255295"/>
                <a:gd name="connsiteX3" fmla="*/ 243774 w 255295"/>
                <a:gd name="connsiteY3" fmla="*/ 127648 h 255295"/>
                <a:gd name="connsiteX4" fmla="*/ 127648 w 255295"/>
                <a:gd name="connsiteY4" fmla="*/ 243775 h 255295"/>
                <a:gd name="connsiteX5" fmla="*/ 127648 w 255295"/>
                <a:gd name="connsiteY5" fmla="*/ 0 h 255295"/>
                <a:gd name="connsiteX6" fmla="*/ 0 w 255295"/>
                <a:gd name="connsiteY6" fmla="*/ 127648 h 255295"/>
                <a:gd name="connsiteX7" fmla="*/ 127648 w 255295"/>
                <a:gd name="connsiteY7" fmla="*/ 255296 h 255295"/>
                <a:gd name="connsiteX8" fmla="*/ 255296 w 255295"/>
                <a:gd name="connsiteY8" fmla="*/ 127648 h 255295"/>
                <a:gd name="connsiteX9" fmla="*/ 127648 w 255295"/>
                <a:gd name="connsiteY9" fmla="*/ 0 h 2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295" h="255295">
                  <a:moveTo>
                    <a:pt x="127648" y="243775"/>
                  </a:moveTo>
                  <a:cubicBezTo>
                    <a:pt x="63539" y="243775"/>
                    <a:pt x="11521" y="191871"/>
                    <a:pt x="11521" y="127648"/>
                  </a:cubicBezTo>
                  <a:cubicBezTo>
                    <a:pt x="11521" y="63425"/>
                    <a:pt x="63425" y="11521"/>
                    <a:pt x="127648" y="11521"/>
                  </a:cubicBezTo>
                  <a:cubicBezTo>
                    <a:pt x="191871" y="11521"/>
                    <a:pt x="243774" y="63425"/>
                    <a:pt x="243774" y="127648"/>
                  </a:cubicBezTo>
                  <a:cubicBezTo>
                    <a:pt x="243774" y="191871"/>
                    <a:pt x="191871" y="243775"/>
                    <a:pt x="127648" y="243775"/>
                  </a:cubicBezTo>
                  <a:moveTo>
                    <a:pt x="127648" y="0"/>
                  </a:moveTo>
                  <a:cubicBezTo>
                    <a:pt x="57151" y="0"/>
                    <a:pt x="0" y="57151"/>
                    <a:pt x="0" y="127648"/>
                  </a:cubicBezTo>
                  <a:cubicBezTo>
                    <a:pt x="0" y="198145"/>
                    <a:pt x="57151" y="255296"/>
                    <a:pt x="127648" y="255296"/>
                  </a:cubicBezTo>
                  <a:cubicBezTo>
                    <a:pt x="198145" y="255296"/>
                    <a:pt x="255296" y="198145"/>
                    <a:pt x="255296" y="127648"/>
                  </a:cubicBezTo>
                  <a:cubicBezTo>
                    <a:pt x="255296" y="57151"/>
                    <a:pt x="198145" y="0"/>
                    <a:pt x="127648" y="0"/>
                  </a:cubicBezTo>
                </a:path>
              </a:pathLst>
            </a:custGeom>
            <a:grpFill/>
            <a:ln w="11403" cap="flat">
              <a:noFill/>
              <a:prstDash val="solid"/>
              <a:miter/>
            </a:ln>
          </p:spPr>
          <p:txBody>
            <a:bodyPr rtlCol="0" anchor="ctr"/>
            <a:lstStyle/>
            <a:p>
              <a:pPr defTabSz="466522"/>
              <a:endParaRPr lang="en-AU" sz="1000">
                <a:solidFill>
                  <a:prstClr val="black"/>
                </a:solidFill>
              </a:endParaRPr>
            </a:p>
          </p:txBody>
        </p:sp>
        <p:grpSp>
          <p:nvGrpSpPr>
            <p:cNvPr id="155" name="Graphic 10">
              <a:extLst>
                <a:ext uri="{FF2B5EF4-FFF2-40B4-BE49-F238E27FC236}">
                  <a16:creationId xmlns:a16="http://schemas.microsoft.com/office/drawing/2014/main" id="{0210470E-40DC-A741-365B-E0760A659ABC}"/>
                </a:ext>
              </a:extLst>
            </p:cNvPr>
            <p:cNvGrpSpPr/>
            <p:nvPr/>
          </p:nvGrpSpPr>
          <p:grpSpPr>
            <a:xfrm>
              <a:off x="4884528" y="3788240"/>
              <a:ext cx="73348" cy="115555"/>
              <a:chOff x="4884528" y="3788240"/>
              <a:chExt cx="73348" cy="115555"/>
            </a:xfrm>
            <a:grpFill/>
          </p:grpSpPr>
          <p:sp>
            <p:nvSpPr>
              <p:cNvPr id="156" name="Freeform: Shape 155">
                <a:extLst>
                  <a:ext uri="{FF2B5EF4-FFF2-40B4-BE49-F238E27FC236}">
                    <a16:creationId xmlns:a16="http://schemas.microsoft.com/office/drawing/2014/main" id="{5319C901-E0A1-D1CE-E2FF-58E54A1F3CA9}"/>
                  </a:ext>
                </a:extLst>
              </p:cNvPr>
              <p:cNvSpPr/>
              <p:nvPr/>
            </p:nvSpPr>
            <p:spPr>
              <a:xfrm>
                <a:off x="4884528" y="3788240"/>
                <a:ext cx="73348" cy="85668"/>
              </a:xfrm>
              <a:custGeom>
                <a:avLst/>
                <a:gdLst>
                  <a:gd name="connsiteX0" fmla="*/ 69014 w 73348"/>
                  <a:gd name="connsiteY0" fmla="*/ 15172 h 85668"/>
                  <a:gd name="connsiteX1" fmla="*/ 56466 w 73348"/>
                  <a:gd name="connsiteY1" fmla="*/ 4106 h 85668"/>
                  <a:gd name="connsiteX2" fmla="*/ 37644 w 73348"/>
                  <a:gd name="connsiteY2" fmla="*/ 0 h 85668"/>
                  <a:gd name="connsiteX3" fmla="*/ 17567 w 73348"/>
                  <a:gd name="connsiteY3" fmla="*/ 4905 h 85668"/>
                  <a:gd name="connsiteX4" fmla="*/ 4449 w 73348"/>
                  <a:gd name="connsiteY4" fmla="*/ 17225 h 85668"/>
                  <a:gd name="connsiteX5" fmla="*/ 0 w 73348"/>
                  <a:gd name="connsiteY5" fmla="*/ 31826 h 85668"/>
                  <a:gd name="connsiteX6" fmla="*/ 2738 w 73348"/>
                  <a:gd name="connsiteY6" fmla="*/ 38214 h 85668"/>
                  <a:gd name="connsiteX7" fmla="*/ 9582 w 73348"/>
                  <a:gd name="connsiteY7" fmla="*/ 41180 h 85668"/>
                  <a:gd name="connsiteX8" fmla="*/ 18822 w 73348"/>
                  <a:gd name="connsiteY8" fmla="*/ 32739 h 85668"/>
                  <a:gd name="connsiteX9" fmla="*/ 25438 w 73348"/>
                  <a:gd name="connsiteY9" fmla="*/ 19963 h 85668"/>
                  <a:gd name="connsiteX10" fmla="*/ 37644 w 73348"/>
                  <a:gd name="connsiteY10" fmla="*/ 15628 h 85668"/>
                  <a:gd name="connsiteX11" fmla="*/ 49165 w 73348"/>
                  <a:gd name="connsiteY11" fmla="*/ 19963 h 85668"/>
                  <a:gd name="connsiteX12" fmla="*/ 53615 w 73348"/>
                  <a:gd name="connsiteY12" fmla="*/ 30572 h 85668"/>
                  <a:gd name="connsiteX13" fmla="*/ 52131 w 73348"/>
                  <a:gd name="connsiteY13" fmla="*/ 36503 h 85668"/>
                  <a:gd name="connsiteX14" fmla="*/ 48481 w 73348"/>
                  <a:gd name="connsiteY14" fmla="*/ 41408 h 85668"/>
                  <a:gd name="connsiteX15" fmla="*/ 41637 w 73348"/>
                  <a:gd name="connsiteY15" fmla="*/ 47911 h 85668"/>
                  <a:gd name="connsiteX16" fmla="*/ 33081 w 73348"/>
                  <a:gd name="connsiteY16" fmla="*/ 56352 h 85668"/>
                  <a:gd name="connsiteX17" fmla="*/ 28062 w 73348"/>
                  <a:gd name="connsiteY17" fmla="*/ 64565 h 85668"/>
                  <a:gd name="connsiteX18" fmla="*/ 26123 w 73348"/>
                  <a:gd name="connsiteY18" fmla="*/ 75630 h 85668"/>
                  <a:gd name="connsiteX19" fmla="*/ 28632 w 73348"/>
                  <a:gd name="connsiteY19" fmla="*/ 83159 h 85668"/>
                  <a:gd name="connsiteX20" fmla="*/ 34906 w 73348"/>
                  <a:gd name="connsiteY20" fmla="*/ 85669 h 85668"/>
                  <a:gd name="connsiteX21" fmla="*/ 43462 w 73348"/>
                  <a:gd name="connsiteY21" fmla="*/ 78026 h 85668"/>
                  <a:gd name="connsiteX22" fmla="*/ 44717 w 73348"/>
                  <a:gd name="connsiteY22" fmla="*/ 72665 h 85668"/>
                  <a:gd name="connsiteX23" fmla="*/ 45857 w 73348"/>
                  <a:gd name="connsiteY23" fmla="*/ 69584 h 85668"/>
                  <a:gd name="connsiteX24" fmla="*/ 48139 w 73348"/>
                  <a:gd name="connsiteY24" fmla="*/ 66276 h 85668"/>
                  <a:gd name="connsiteX25" fmla="*/ 52131 w 73348"/>
                  <a:gd name="connsiteY25" fmla="*/ 62055 h 85668"/>
                  <a:gd name="connsiteX26" fmla="*/ 64793 w 73348"/>
                  <a:gd name="connsiteY26" fmla="*/ 50078 h 85668"/>
                  <a:gd name="connsiteX27" fmla="*/ 70839 w 73348"/>
                  <a:gd name="connsiteY27" fmla="*/ 41637 h 85668"/>
                  <a:gd name="connsiteX28" fmla="*/ 73349 w 73348"/>
                  <a:gd name="connsiteY28" fmla="*/ 30343 h 85668"/>
                  <a:gd name="connsiteX29" fmla="*/ 68900 w 73348"/>
                  <a:gd name="connsiteY29" fmla="*/ 15172 h 8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3348" h="85668">
                    <a:moveTo>
                      <a:pt x="69014" y="15172"/>
                    </a:moveTo>
                    <a:cubicBezTo>
                      <a:pt x="66048" y="10495"/>
                      <a:pt x="61828" y="6844"/>
                      <a:pt x="56466" y="4106"/>
                    </a:cubicBezTo>
                    <a:cubicBezTo>
                      <a:pt x="50991" y="1369"/>
                      <a:pt x="44717" y="0"/>
                      <a:pt x="37644" y="0"/>
                    </a:cubicBezTo>
                    <a:cubicBezTo>
                      <a:pt x="30001" y="0"/>
                      <a:pt x="23271" y="1597"/>
                      <a:pt x="17567" y="4905"/>
                    </a:cubicBezTo>
                    <a:cubicBezTo>
                      <a:pt x="11864" y="8213"/>
                      <a:pt x="7415" y="12320"/>
                      <a:pt x="4449" y="17225"/>
                    </a:cubicBezTo>
                    <a:cubicBezTo>
                      <a:pt x="1483" y="22130"/>
                      <a:pt x="0" y="27035"/>
                      <a:pt x="0" y="31826"/>
                    </a:cubicBezTo>
                    <a:cubicBezTo>
                      <a:pt x="0" y="34108"/>
                      <a:pt x="912" y="36275"/>
                      <a:pt x="2738" y="38214"/>
                    </a:cubicBezTo>
                    <a:cubicBezTo>
                      <a:pt x="4563" y="40154"/>
                      <a:pt x="6844" y="41180"/>
                      <a:pt x="9582" y="41180"/>
                    </a:cubicBezTo>
                    <a:cubicBezTo>
                      <a:pt x="14145" y="41180"/>
                      <a:pt x="17225" y="38443"/>
                      <a:pt x="18822" y="32739"/>
                    </a:cubicBezTo>
                    <a:cubicBezTo>
                      <a:pt x="20647" y="27149"/>
                      <a:pt x="22815" y="22815"/>
                      <a:pt x="25438" y="19963"/>
                    </a:cubicBezTo>
                    <a:cubicBezTo>
                      <a:pt x="28062" y="17111"/>
                      <a:pt x="32169" y="15628"/>
                      <a:pt x="37644" y="15628"/>
                    </a:cubicBezTo>
                    <a:cubicBezTo>
                      <a:pt x="42321" y="15628"/>
                      <a:pt x="46199" y="17111"/>
                      <a:pt x="49165" y="19963"/>
                    </a:cubicBezTo>
                    <a:cubicBezTo>
                      <a:pt x="52131" y="22815"/>
                      <a:pt x="53615" y="26351"/>
                      <a:pt x="53615" y="30572"/>
                    </a:cubicBezTo>
                    <a:cubicBezTo>
                      <a:pt x="53615" y="32739"/>
                      <a:pt x="53158" y="34678"/>
                      <a:pt x="52131" y="36503"/>
                    </a:cubicBezTo>
                    <a:cubicBezTo>
                      <a:pt x="51105" y="38328"/>
                      <a:pt x="49964" y="39926"/>
                      <a:pt x="48481" y="41408"/>
                    </a:cubicBezTo>
                    <a:cubicBezTo>
                      <a:pt x="47112" y="42891"/>
                      <a:pt x="44831" y="45059"/>
                      <a:pt x="41637" y="47911"/>
                    </a:cubicBezTo>
                    <a:cubicBezTo>
                      <a:pt x="38100" y="51105"/>
                      <a:pt x="35134" y="53956"/>
                      <a:pt x="33081" y="56352"/>
                    </a:cubicBezTo>
                    <a:cubicBezTo>
                      <a:pt x="31028" y="58748"/>
                      <a:pt x="29317" y="61485"/>
                      <a:pt x="28062" y="64565"/>
                    </a:cubicBezTo>
                    <a:cubicBezTo>
                      <a:pt x="26807" y="67645"/>
                      <a:pt x="26123" y="71410"/>
                      <a:pt x="26123" y="75630"/>
                    </a:cubicBezTo>
                    <a:cubicBezTo>
                      <a:pt x="26123" y="78938"/>
                      <a:pt x="27035" y="81448"/>
                      <a:pt x="28632" y="83159"/>
                    </a:cubicBezTo>
                    <a:cubicBezTo>
                      <a:pt x="30229" y="84870"/>
                      <a:pt x="32397" y="85669"/>
                      <a:pt x="34906" y="85669"/>
                    </a:cubicBezTo>
                    <a:cubicBezTo>
                      <a:pt x="39698" y="85669"/>
                      <a:pt x="42549" y="83045"/>
                      <a:pt x="43462" y="78026"/>
                    </a:cubicBezTo>
                    <a:cubicBezTo>
                      <a:pt x="44032" y="75402"/>
                      <a:pt x="44488" y="73691"/>
                      <a:pt x="44717" y="72665"/>
                    </a:cubicBezTo>
                    <a:cubicBezTo>
                      <a:pt x="44945" y="71638"/>
                      <a:pt x="45401" y="70611"/>
                      <a:pt x="45857" y="69584"/>
                    </a:cubicBezTo>
                    <a:cubicBezTo>
                      <a:pt x="46314" y="68558"/>
                      <a:pt x="47112" y="67417"/>
                      <a:pt x="48139" y="66276"/>
                    </a:cubicBezTo>
                    <a:cubicBezTo>
                      <a:pt x="49165" y="65136"/>
                      <a:pt x="50534" y="63653"/>
                      <a:pt x="52131" y="62055"/>
                    </a:cubicBezTo>
                    <a:cubicBezTo>
                      <a:pt x="58177" y="56466"/>
                      <a:pt x="62398" y="52360"/>
                      <a:pt x="64793" y="50078"/>
                    </a:cubicBezTo>
                    <a:cubicBezTo>
                      <a:pt x="67075" y="47796"/>
                      <a:pt x="69128" y="44944"/>
                      <a:pt x="70839" y="41637"/>
                    </a:cubicBezTo>
                    <a:cubicBezTo>
                      <a:pt x="72550" y="38443"/>
                      <a:pt x="73349" y="34678"/>
                      <a:pt x="73349" y="30343"/>
                    </a:cubicBezTo>
                    <a:cubicBezTo>
                      <a:pt x="73349" y="24868"/>
                      <a:pt x="71866" y="19849"/>
                      <a:pt x="68900" y="15172"/>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7" name="Freeform: Shape 156">
                <a:extLst>
                  <a:ext uri="{FF2B5EF4-FFF2-40B4-BE49-F238E27FC236}">
                    <a16:creationId xmlns:a16="http://schemas.microsoft.com/office/drawing/2014/main" id="{C3AB3D22-458A-829E-15A4-185A7AB3E35A}"/>
                  </a:ext>
                </a:extLst>
              </p:cNvPr>
              <p:cNvSpPr/>
              <p:nvPr/>
            </p:nvSpPr>
            <p:spPr>
              <a:xfrm>
                <a:off x="4909396" y="3881537"/>
                <a:ext cx="21788" cy="22258"/>
              </a:xfrm>
              <a:custGeom>
                <a:avLst/>
                <a:gdLst>
                  <a:gd name="connsiteX0" fmla="*/ 3194 w 21788"/>
                  <a:gd name="connsiteY0" fmla="*/ 3208 h 22258"/>
                  <a:gd name="connsiteX1" fmla="*/ 0 w 21788"/>
                  <a:gd name="connsiteY1" fmla="*/ 11080 h 22258"/>
                  <a:gd name="connsiteX2" fmla="*/ 3308 w 21788"/>
                  <a:gd name="connsiteY2" fmla="*/ 19293 h 22258"/>
                  <a:gd name="connsiteX3" fmla="*/ 11065 w 21788"/>
                  <a:gd name="connsiteY3" fmla="*/ 22258 h 22258"/>
                  <a:gd name="connsiteX4" fmla="*/ 18594 w 21788"/>
                  <a:gd name="connsiteY4" fmla="*/ 19293 h 22258"/>
                  <a:gd name="connsiteX5" fmla="*/ 21788 w 21788"/>
                  <a:gd name="connsiteY5" fmla="*/ 11080 h 22258"/>
                  <a:gd name="connsiteX6" fmla="*/ 18708 w 21788"/>
                  <a:gd name="connsiteY6" fmla="*/ 3208 h 22258"/>
                  <a:gd name="connsiteX7" fmla="*/ 3194 w 21788"/>
                  <a:gd name="connsiteY7" fmla="*/ 3208 h 2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88" h="22258">
                    <a:moveTo>
                      <a:pt x="3194" y="3208"/>
                    </a:moveTo>
                    <a:cubicBezTo>
                      <a:pt x="1027" y="5376"/>
                      <a:pt x="0" y="7999"/>
                      <a:pt x="0" y="11080"/>
                    </a:cubicBezTo>
                    <a:cubicBezTo>
                      <a:pt x="0" y="14616"/>
                      <a:pt x="1141" y="17353"/>
                      <a:pt x="3308" y="19293"/>
                    </a:cubicBezTo>
                    <a:cubicBezTo>
                      <a:pt x="5476" y="21232"/>
                      <a:pt x="8099" y="22258"/>
                      <a:pt x="11065" y="22258"/>
                    </a:cubicBezTo>
                    <a:cubicBezTo>
                      <a:pt x="14031" y="22258"/>
                      <a:pt x="16427" y="21232"/>
                      <a:pt x="18594" y="19293"/>
                    </a:cubicBezTo>
                    <a:cubicBezTo>
                      <a:pt x="20761" y="17353"/>
                      <a:pt x="21788" y="14502"/>
                      <a:pt x="21788" y="11080"/>
                    </a:cubicBezTo>
                    <a:cubicBezTo>
                      <a:pt x="21788" y="7999"/>
                      <a:pt x="20761" y="5262"/>
                      <a:pt x="18708" y="3208"/>
                    </a:cubicBezTo>
                    <a:cubicBezTo>
                      <a:pt x="14488" y="-1126"/>
                      <a:pt x="7415" y="-1012"/>
                      <a:pt x="3194" y="3208"/>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grpSp>
      </p:grpSp>
      <p:cxnSp>
        <p:nvCxnSpPr>
          <p:cNvPr id="44" name="Straight Connector 43">
            <a:extLst>
              <a:ext uri="{FF2B5EF4-FFF2-40B4-BE49-F238E27FC236}">
                <a16:creationId xmlns:a16="http://schemas.microsoft.com/office/drawing/2014/main" id="{D6C02E0D-000B-D79A-1984-AA838C27494D}"/>
              </a:ext>
              <a:ext uri="{C183D7F6-B498-43B3-948B-1728B52AA6E4}">
                <adec:decorative xmlns:adec="http://schemas.microsoft.com/office/drawing/2017/decorative" val="1"/>
              </a:ext>
            </a:extLst>
          </p:cNvPr>
          <p:cNvCxnSpPr>
            <a:cxnSpLocks/>
            <a:stCxn id="131" idx="4"/>
          </p:cNvCxnSpPr>
          <p:nvPr/>
        </p:nvCxnSpPr>
        <p:spPr>
          <a:xfrm>
            <a:off x="6846781"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45" name="Graphic 10">
            <a:extLst>
              <a:ext uri="{FF2B5EF4-FFF2-40B4-BE49-F238E27FC236}">
                <a16:creationId xmlns:a16="http://schemas.microsoft.com/office/drawing/2014/main" id="{9FD18184-4516-08C4-2D73-4D6D3DD352FC}"/>
              </a:ext>
              <a:ext uri="{C183D7F6-B498-43B3-948B-1728B52AA6E4}">
                <adec:decorative xmlns:adec="http://schemas.microsoft.com/office/drawing/2017/decorative" val="1"/>
              </a:ext>
            </a:extLst>
          </p:cNvPr>
          <p:cNvGrpSpPr/>
          <p:nvPr/>
        </p:nvGrpSpPr>
        <p:grpSpPr>
          <a:xfrm>
            <a:off x="4003080" y="2641523"/>
            <a:ext cx="217545" cy="245261"/>
            <a:chOff x="4788250" y="4735731"/>
            <a:chExt cx="266018" cy="299898"/>
          </a:xfrm>
          <a:solidFill>
            <a:schemeClr val="accent5"/>
          </a:solidFill>
        </p:grpSpPr>
        <p:sp>
          <p:nvSpPr>
            <p:cNvPr id="144" name="Freeform: Shape 143">
              <a:extLst>
                <a:ext uri="{FF2B5EF4-FFF2-40B4-BE49-F238E27FC236}">
                  <a16:creationId xmlns:a16="http://schemas.microsoft.com/office/drawing/2014/main" id="{6B2FDBAB-FE8A-99DC-11D2-F528790CFB06}"/>
                </a:ext>
              </a:extLst>
            </p:cNvPr>
            <p:cNvSpPr/>
            <p:nvPr/>
          </p:nvSpPr>
          <p:spPr>
            <a:xfrm>
              <a:off x="4864679" y="4838967"/>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3650"/>
                    <a:pt x="0" y="5476"/>
                  </a:cubicBezTo>
                  <a:cubicBezTo>
                    <a:pt x="0" y="9126"/>
                    <a:pt x="1711" y="10951"/>
                    <a:pt x="5247" y="10951"/>
                  </a:cubicBezTo>
                  <a:lnTo>
                    <a:pt x="59774" y="10951"/>
                  </a:lnTo>
                  <a:cubicBezTo>
                    <a:pt x="63310" y="10951"/>
                    <a:pt x="65021" y="9126"/>
                    <a:pt x="65021" y="5476"/>
                  </a:cubicBezTo>
                  <a:cubicBezTo>
                    <a:pt x="65021" y="3650"/>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5" name="Freeform: Shape 144">
              <a:extLst>
                <a:ext uri="{FF2B5EF4-FFF2-40B4-BE49-F238E27FC236}">
                  <a16:creationId xmlns:a16="http://schemas.microsoft.com/office/drawing/2014/main" id="{C83B9DD4-63E4-60E8-9F1C-B8DB38287A01}"/>
                </a:ext>
              </a:extLst>
            </p:cNvPr>
            <p:cNvSpPr/>
            <p:nvPr/>
          </p:nvSpPr>
          <p:spPr>
            <a:xfrm>
              <a:off x="4864679" y="4873531"/>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1825"/>
                    <a:pt x="0" y="5476"/>
                  </a:cubicBezTo>
                  <a:cubicBezTo>
                    <a:pt x="0" y="7301"/>
                    <a:pt x="1711" y="10951"/>
                    <a:pt x="5247" y="10951"/>
                  </a:cubicBezTo>
                  <a:lnTo>
                    <a:pt x="59774" y="10951"/>
                  </a:lnTo>
                  <a:cubicBezTo>
                    <a:pt x="63310" y="10951"/>
                    <a:pt x="65021" y="7301"/>
                    <a:pt x="65021" y="5476"/>
                  </a:cubicBezTo>
                  <a:cubicBezTo>
                    <a:pt x="65021" y="1825"/>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6" name="Freeform: Shape 145">
              <a:extLst>
                <a:ext uri="{FF2B5EF4-FFF2-40B4-BE49-F238E27FC236}">
                  <a16:creationId xmlns:a16="http://schemas.microsoft.com/office/drawing/2014/main" id="{638235E7-EA75-355D-909B-5FE905343144}"/>
                </a:ext>
              </a:extLst>
            </p:cNvPr>
            <p:cNvSpPr/>
            <p:nvPr/>
          </p:nvSpPr>
          <p:spPr>
            <a:xfrm>
              <a:off x="4864679" y="4905016"/>
              <a:ext cx="65021" cy="10038"/>
            </a:xfrm>
            <a:custGeom>
              <a:avLst/>
              <a:gdLst>
                <a:gd name="connsiteX0" fmla="*/ 59774 w 65021"/>
                <a:gd name="connsiteY0" fmla="*/ 0 h 10038"/>
                <a:gd name="connsiteX1" fmla="*/ 5247 w 65021"/>
                <a:gd name="connsiteY1" fmla="*/ 0 h 10038"/>
                <a:gd name="connsiteX2" fmla="*/ 0 w 65021"/>
                <a:gd name="connsiteY2" fmla="*/ 5019 h 10038"/>
                <a:gd name="connsiteX3" fmla="*/ 5247 w 65021"/>
                <a:gd name="connsiteY3" fmla="*/ 10038 h 10038"/>
                <a:gd name="connsiteX4" fmla="*/ 59774 w 65021"/>
                <a:gd name="connsiteY4" fmla="*/ 10038 h 10038"/>
                <a:gd name="connsiteX5" fmla="*/ 65021 w 65021"/>
                <a:gd name="connsiteY5" fmla="*/ 5019 h 10038"/>
                <a:gd name="connsiteX6" fmla="*/ 59774 w 65021"/>
                <a:gd name="connsiteY6" fmla="*/ 0 h 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038">
                  <a:moveTo>
                    <a:pt x="59774" y="0"/>
                  </a:moveTo>
                  <a:lnTo>
                    <a:pt x="5247" y="0"/>
                  </a:lnTo>
                  <a:cubicBezTo>
                    <a:pt x="1711" y="0"/>
                    <a:pt x="0" y="3308"/>
                    <a:pt x="0" y="5019"/>
                  </a:cubicBezTo>
                  <a:cubicBezTo>
                    <a:pt x="0" y="8327"/>
                    <a:pt x="1711" y="10038"/>
                    <a:pt x="5247" y="10038"/>
                  </a:cubicBezTo>
                  <a:lnTo>
                    <a:pt x="59774" y="10038"/>
                  </a:lnTo>
                  <a:cubicBezTo>
                    <a:pt x="63310" y="10038"/>
                    <a:pt x="65021" y="8327"/>
                    <a:pt x="65021" y="5019"/>
                  </a:cubicBezTo>
                  <a:cubicBezTo>
                    <a:pt x="65021" y="3308"/>
                    <a:pt x="63310" y="0"/>
                    <a:pt x="59774"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7" name="Freeform: Shape 146">
              <a:extLst>
                <a:ext uri="{FF2B5EF4-FFF2-40B4-BE49-F238E27FC236}">
                  <a16:creationId xmlns:a16="http://schemas.microsoft.com/office/drawing/2014/main" id="{3BF5C18B-4C12-636D-76CC-E9A60CB62EC6}"/>
                </a:ext>
              </a:extLst>
            </p:cNvPr>
            <p:cNvSpPr/>
            <p:nvPr/>
          </p:nvSpPr>
          <p:spPr>
            <a:xfrm>
              <a:off x="4829659" y="4835659"/>
              <a:ext cx="19164" cy="19164"/>
            </a:xfrm>
            <a:custGeom>
              <a:avLst/>
              <a:gdLst>
                <a:gd name="connsiteX0" fmla="*/ 9582 w 19164"/>
                <a:gd name="connsiteY0" fmla="*/ 0 h 19164"/>
                <a:gd name="connsiteX1" fmla="*/ 0 w 19164"/>
                <a:gd name="connsiteY1" fmla="*/ 9582 h 19164"/>
                <a:gd name="connsiteX2" fmla="*/ 9582 w 19164"/>
                <a:gd name="connsiteY2" fmla="*/ 19165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5"/>
                    <a:pt x="9582" y="19165"/>
                  </a:cubicBezTo>
                  <a:cubicBezTo>
                    <a:pt x="14829" y="19165"/>
                    <a:pt x="19164" y="14830"/>
                    <a:pt x="19164" y="9582"/>
                  </a:cubicBezTo>
                  <a:cubicBezTo>
                    <a:pt x="19164" y="4335"/>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8" name="Freeform: Shape 147">
              <a:extLst>
                <a:ext uri="{FF2B5EF4-FFF2-40B4-BE49-F238E27FC236}">
                  <a16:creationId xmlns:a16="http://schemas.microsoft.com/office/drawing/2014/main" id="{E31C7767-C862-F870-5603-5BF38DDA3BE4}"/>
                </a:ext>
              </a:extLst>
            </p:cNvPr>
            <p:cNvSpPr/>
            <p:nvPr/>
          </p:nvSpPr>
          <p:spPr>
            <a:xfrm>
              <a:off x="4829659" y="4868512"/>
              <a:ext cx="19164" cy="19164"/>
            </a:xfrm>
            <a:custGeom>
              <a:avLst/>
              <a:gdLst>
                <a:gd name="connsiteX0" fmla="*/ 9582 w 19164"/>
                <a:gd name="connsiteY0" fmla="*/ 0 h 19164"/>
                <a:gd name="connsiteX1" fmla="*/ 0 w 19164"/>
                <a:gd name="connsiteY1" fmla="*/ 9582 h 19164"/>
                <a:gd name="connsiteX2" fmla="*/ 9582 w 19164"/>
                <a:gd name="connsiteY2" fmla="*/ 19164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4"/>
                    <a:pt x="9582" y="19164"/>
                  </a:cubicBezTo>
                  <a:cubicBezTo>
                    <a:pt x="14829" y="19164"/>
                    <a:pt x="19164" y="14830"/>
                    <a:pt x="19164" y="9582"/>
                  </a:cubicBezTo>
                  <a:cubicBezTo>
                    <a:pt x="19164" y="4335"/>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9" name="Freeform: Shape 148">
              <a:extLst>
                <a:ext uri="{FF2B5EF4-FFF2-40B4-BE49-F238E27FC236}">
                  <a16:creationId xmlns:a16="http://schemas.microsoft.com/office/drawing/2014/main" id="{42914806-F7E1-DDEC-A8DD-2C59FF08D12F}"/>
                </a:ext>
              </a:extLst>
            </p:cNvPr>
            <p:cNvSpPr/>
            <p:nvPr/>
          </p:nvSpPr>
          <p:spPr>
            <a:xfrm>
              <a:off x="4829659" y="4901707"/>
              <a:ext cx="19164" cy="18365"/>
            </a:xfrm>
            <a:custGeom>
              <a:avLst/>
              <a:gdLst>
                <a:gd name="connsiteX0" fmla="*/ 9582 w 19164"/>
                <a:gd name="connsiteY0" fmla="*/ 0 h 18365"/>
                <a:gd name="connsiteX1" fmla="*/ 0 w 19164"/>
                <a:gd name="connsiteY1" fmla="*/ 9240 h 18365"/>
                <a:gd name="connsiteX2" fmla="*/ 9582 w 19164"/>
                <a:gd name="connsiteY2" fmla="*/ 18366 h 18365"/>
                <a:gd name="connsiteX3" fmla="*/ 19164 w 19164"/>
                <a:gd name="connsiteY3" fmla="*/ 9240 h 18365"/>
                <a:gd name="connsiteX4" fmla="*/ 9582 w 19164"/>
                <a:gd name="connsiteY4" fmla="*/ 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8365">
                  <a:moveTo>
                    <a:pt x="9582" y="0"/>
                  </a:moveTo>
                  <a:cubicBezTo>
                    <a:pt x="4335" y="0"/>
                    <a:pt x="0" y="4106"/>
                    <a:pt x="0" y="9240"/>
                  </a:cubicBezTo>
                  <a:cubicBezTo>
                    <a:pt x="0" y="14373"/>
                    <a:pt x="4335" y="18366"/>
                    <a:pt x="9582" y="18366"/>
                  </a:cubicBezTo>
                  <a:cubicBezTo>
                    <a:pt x="14829" y="18366"/>
                    <a:pt x="19164" y="14259"/>
                    <a:pt x="19164" y="9240"/>
                  </a:cubicBezTo>
                  <a:cubicBezTo>
                    <a:pt x="19164" y="4221"/>
                    <a:pt x="14829" y="0"/>
                    <a:pt x="9582" y="0"/>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0" name="Freeform: Shape 149">
              <a:extLst>
                <a:ext uri="{FF2B5EF4-FFF2-40B4-BE49-F238E27FC236}">
                  <a16:creationId xmlns:a16="http://schemas.microsoft.com/office/drawing/2014/main" id="{FF9D0204-8EF4-F8A5-2017-F454181797BF}"/>
                </a:ext>
              </a:extLst>
            </p:cNvPr>
            <p:cNvSpPr/>
            <p:nvPr/>
          </p:nvSpPr>
          <p:spPr>
            <a:xfrm>
              <a:off x="4788250" y="4735731"/>
              <a:ext cx="192783" cy="265904"/>
            </a:xfrm>
            <a:custGeom>
              <a:avLst/>
              <a:gdLst>
                <a:gd name="connsiteX0" fmla="*/ 127420 w 192783"/>
                <a:gd name="connsiteY0" fmla="*/ 255295 h 265904"/>
                <a:gd name="connsiteX1" fmla="*/ 26465 w 192783"/>
                <a:gd name="connsiteY1" fmla="*/ 255295 h 265904"/>
                <a:gd name="connsiteX2" fmla="*/ 12434 w 192783"/>
                <a:gd name="connsiteY2" fmla="*/ 241265 h 265904"/>
                <a:gd name="connsiteX3" fmla="*/ 12434 w 192783"/>
                <a:gd name="connsiteY3" fmla="*/ 66732 h 265904"/>
                <a:gd name="connsiteX4" fmla="*/ 26465 w 192783"/>
                <a:gd name="connsiteY4" fmla="*/ 50877 h 265904"/>
                <a:gd name="connsiteX5" fmla="*/ 43690 w 192783"/>
                <a:gd name="connsiteY5" fmla="*/ 50877 h 265904"/>
                <a:gd name="connsiteX6" fmla="*/ 43690 w 192783"/>
                <a:gd name="connsiteY6" fmla="*/ 52588 h 265904"/>
                <a:gd name="connsiteX7" fmla="*/ 56010 w 192783"/>
                <a:gd name="connsiteY7" fmla="*/ 64908 h 265904"/>
                <a:gd name="connsiteX8" fmla="*/ 136888 w 192783"/>
                <a:gd name="connsiteY8" fmla="*/ 64908 h 265904"/>
                <a:gd name="connsiteX9" fmla="*/ 149207 w 192783"/>
                <a:gd name="connsiteY9" fmla="*/ 52588 h 265904"/>
                <a:gd name="connsiteX10" fmla="*/ 149207 w 192783"/>
                <a:gd name="connsiteY10" fmla="*/ 50877 h 265904"/>
                <a:gd name="connsiteX11" fmla="*/ 166433 w 192783"/>
                <a:gd name="connsiteY11" fmla="*/ 50877 h 265904"/>
                <a:gd name="connsiteX12" fmla="*/ 180464 w 192783"/>
                <a:gd name="connsiteY12" fmla="*/ 66732 h 265904"/>
                <a:gd name="connsiteX13" fmla="*/ 180464 w 192783"/>
                <a:gd name="connsiteY13" fmla="*/ 159474 h 265904"/>
                <a:gd name="connsiteX14" fmla="*/ 192783 w 192783"/>
                <a:gd name="connsiteY14" fmla="*/ 156622 h 265904"/>
                <a:gd name="connsiteX15" fmla="*/ 192783 w 192783"/>
                <a:gd name="connsiteY15" fmla="*/ 66732 h 265904"/>
                <a:gd name="connsiteX16" fmla="*/ 166433 w 192783"/>
                <a:gd name="connsiteY16" fmla="*/ 40382 h 265904"/>
                <a:gd name="connsiteX17" fmla="*/ 149207 w 192783"/>
                <a:gd name="connsiteY17" fmla="*/ 40382 h 265904"/>
                <a:gd name="connsiteX18" fmla="*/ 149207 w 192783"/>
                <a:gd name="connsiteY18" fmla="*/ 26351 h 265904"/>
                <a:gd name="connsiteX19" fmla="*/ 136888 w 192783"/>
                <a:gd name="connsiteY19" fmla="*/ 14031 h 265904"/>
                <a:gd name="connsiteX20" fmla="*/ 108712 w 192783"/>
                <a:gd name="connsiteY20" fmla="*/ 14031 h 265904"/>
                <a:gd name="connsiteX21" fmla="*/ 108712 w 192783"/>
                <a:gd name="connsiteY21" fmla="*/ 12320 h 265904"/>
                <a:gd name="connsiteX22" fmla="*/ 96392 w 192783"/>
                <a:gd name="connsiteY22" fmla="*/ 0 h 265904"/>
                <a:gd name="connsiteX23" fmla="*/ 84072 w 192783"/>
                <a:gd name="connsiteY23" fmla="*/ 12320 h 265904"/>
                <a:gd name="connsiteX24" fmla="*/ 84072 w 192783"/>
                <a:gd name="connsiteY24" fmla="*/ 14031 h 265904"/>
                <a:gd name="connsiteX25" fmla="*/ 55896 w 192783"/>
                <a:gd name="connsiteY25" fmla="*/ 14031 h 265904"/>
                <a:gd name="connsiteX26" fmla="*/ 43576 w 192783"/>
                <a:gd name="connsiteY26" fmla="*/ 26351 h 265904"/>
                <a:gd name="connsiteX27" fmla="*/ 43576 w 192783"/>
                <a:gd name="connsiteY27" fmla="*/ 40382 h 265904"/>
                <a:gd name="connsiteX28" fmla="*/ 26351 w 192783"/>
                <a:gd name="connsiteY28" fmla="*/ 40382 h 265904"/>
                <a:gd name="connsiteX29" fmla="*/ 0 w 192783"/>
                <a:gd name="connsiteY29" fmla="*/ 66732 h 265904"/>
                <a:gd name="connsiteX30" fmla="*/ 0 w 192783"/>
                <a:gd name="connsiteY30" fmla="*/ 241265 h 265904"/>
                <a:gd name="connsiteX31" fmla="*/ 26351 w 192783"/>
                <a:gd name="connsiteY31" fmla="*/ 265904 h 265904"/>
                <a:gd name="connsiteX32" fmla="*/ 130385 w 192783"/>
                <a:gd name="connsiteY32" fmla="*/ 265904 h 265904"/>
                <a:gd name="connsiteX33" fmla="*/ 127306 w 192783"/>
                <a:gd name="connsiteY33" fmla="*/ 255295 h 265904"/>
                <a:gd name="connsiteX34" fmla="*/ 54185 w 192783"/>
                <a:gd name="connsiteY34" fmla="*/ 24526 h 265904"/>
                <a:gd name="connsiteX35" fmla="*/ 138599 w 192783"/>
                <a:gd name="connsiteY35" fmla="*/ 24526 h 265904"/>
                <a:gd name="connsiteX36" fmla="*/ 138599 w 192783"/>
                <a:gd name="connsiteY36" fmla="*/ 54413 h 265904"/>
                <a:gd name="connsiteX37" fmla="*/ 54185 w 192783"/>
                <a:gd name="connsiteY37" fmla="*/ 54413 h 265904"/>
                <a:gd name="connsiteX38" fmla="*/ 54185 w 192783"/>
                <a:gd name="connsiteY38" fmla="*/ 24526 h 26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783" h="265904">
                  <a:moveTo>
                    <a:pt x="127420" y="255295"/>
                  </a:moveTo>
                  <a:lnTo>
                    <a:pt x="26465" y="255295"/>
                  </a:lnTo>
                  <a:cubicBezTo>
                    <a:pt x="17681" y="255295"/>
                    <a:pt x="12434" y="248223"/>
                    <a:pt x="12434" y="241265"/>
                  </a:cubicBezTo>
                  <a:lnTo>
                    <a:pt x="12434" y="66732"/>
                  </a:lnTo>
                  <a:cubicBezTo>
                    <a:pt x="12434" y="57949"/>
                    <a:pt x="17681" y="50877"/>
                    <a:pt x="26465" y="50877"/>
                  </a:cubicBezTo>
                  <a:lnTo>
                    <a:pt x="43690" y="50877"/>
                  </a:lnTo>
                  <a:lnTo>
                    <a:pt x="43690" y="52588"/>
                  </a:lnTo>
                  <a:cubicBezTo>
                    <a:pt x="43690" y="59660"/>
                    <a:pt x="48937" y="64908"/>
                    <a:pt x="56010" y="64908"/>
                  </a:cubicBezTo>
                  <a:lnTo>
                    <a:pt x="136888" y="64908"/>
                  </a:lnTo>
                  <a:cubicBezTo>
                    <a:pt x="143960" y="64908"/>
                    <a:pt x="149207" y="59660"/>
                    <a:pt x="149207" y="52588"/>
                  </a:cubicBezTo>
                  <a:lnTo>
                    <a:pt x="149207" y="50877"/>
                  </a:lnTo>
                  <a:lnTo>
                    <a:pt x="166433" y="50877"/>
                  </a:lnTo>
                  <a:cubicBezTo>
                    <a:pt x="175216" y="50877"/>
                    <a:pt x="180464" y="57949"/>
                    <a:pt x="180464" y="66732"/>
                  </a:cubicBezTo>
                  <a:lnTo>
                    <a:pt x="180464" y="159474"/>
                  </a:lnTo>
                  <a:lnTo>
                    <a:pt x="192783" y="156622"/>
                  </a:lnTo>
                  <a:lnTo>
                    <a:pt x="192783" y="66732"/>
                  </a:lnTo>
                  <a:cubicBezTo>
                    <a:pt x="192783" y="52702"/>
                    <a:pt x="180464" y="40382"/>
                    <a:pt x="166433" y="40382"/>
                  </a:cubicBezTo>
                  <a:lnTo>
                    <a:pt x="149207" y="40382"/>
                  </a:lnTo>
                  <a:lnTo>
                    <a:pt x="149207" y="26351"/>
                  </a:lnTo>
                  <a:cubicBezTo>
                    <a:pt x="149207" y="19278"/>
                    <a:pt x="143960" y="14031"/>
                    <a:pt x="136888" y="14031"/>
                  </a:cubicBezTo>
                  <a:lnTo>
                    <a:pt x="108712" y="14031"/>
                  </a:lnTo>
                  <a:lnTo>
                    <a:pt x="108712" y="12320"/>
                  </a:lnTo>
                  <a:cubicBezTo>
                    <a:pt x="108712" y="5247"/>
                    <a:pt x="103464" y="0"/>
                    <a:pt x="96392" y="0"/>
                  </a:cubicBezTo>
                  <a:cubicBezTo>
                    <a:pt x="89319" y="0"/>
                    <a:pt x="84072" y="5247"/>
                    <a:pt x="84072" y="12320"/>
                  </a:cubicBezTo>
                  <a:lnTo>
                    <a:pt x="84072" y="14031"/>
                  </a:lnTo>
                  <a:lnTo>
                    <a:pt x="55896" y="14031"/>
                  </a:lnTo>
                  <a:cubicBezTo>
                    <a:pt x="48823" y="14031"/>
                    <a:pt x="43576" y="19278"/>
                    <a:pt x="43576" y="26351"/>
                  </a:cubicBezTo>
                  <a:lnTo>
                    <a:pt x="43576" y="40382"/>
                  </a:lnTo>
                  <a:lnTo>
                    <a:pt x="26351" y="40382"/>
                  </a:lnTo>
                  <a:cubicBezTo>
                    <a:pt x="12320" y="40382"/>
                    <a:pt x="0" y="52702"/>
                    <a:pt x="0" y="66732"/>
                  </a:cubicBezTo>
                  <a:lnTo>
                    <a:pt x="0" y="241265"/>
                  </a:lnTo>
                  <a:cubicBezTo>
                    <a:pt x="0" y="255295"/>
                    <a:pt x="12320" y="265904"/>
                    <a:pt x="26351" y="265904"/>
                  </a:cubicBezTo>
                  <a:lnTo>
                    <a:pt x="130385" y="265904"/>
                  </a:lnTo>
                  <a:lnTo>
                    <a:pt x="127306" y="255295"/>
                  </a:lnTo>
                  <a:close/>
                  <a:moveTo>
                    <a:pt x="54185" y="24526"/>
                  </a:moveTo>
                  <a:lnTo>
                    <a:pt x="138599" y="24526"/>
                  </a:lnTo>
                  <a:lnTo>
                    <a:pt x="138599" y="54413"/>
                  </a:lnTo>
                  <a:lnTo>
                    <a:pt x="54185" y="54413"/>
                  </a:lnTo>
                  <a:lnTo>
                    <a:pt x="54185" y="24526"/>
                  </a:ln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1" name="Freeform: Shape 150">
              <a:extLst>
                <a:ext uri="{FF2B5EF4-FFF2-40B4-BE49-F238E27FC236}">
                  <a16:creationId xmlns:a16="http://schemas.microsoft.com/office/drawing/2014/main" id="{1694A80E-4C1D-40C3-D4F6-7F97209D3DCF}"/>
                </a:ext>
              </a:extLst>
            </p:cNvPr>
            <p:cNvSpPr/>
            <p:nvPr/>
          </p:nvSpPr>
          <p:spPr>
            <a:xfrm>
              <a:off x="4921259" y="4902620"/>
              <a:ext cx="133009" cy="133009"/>
            </a:xfrm>
            <a:custGeom>
              <a:avLst/>
              <a:gdLst>
                <a:gd name="connsiteX0" fmla="*/ 129473 w 133009"/>
                <a:gd name="connsiteY0" fmla="*/ 45059 h 133009"/>
                <a:gd name="connsiteX1" fmla="*/ 126849 w 133009"/>
                <a:gd name="connsiteY1" fmla="*/ 42321 h 133009"/>
                <a:gd name="connsiteX2" fmla="*/ 122971 w 133009"/>
                <a:gd name="connsiteY2" fmla="*/ 42321 h 133009"/>
                <a:gd name="connsiteX3" fmla="*/ 120119 w 133009"/>
                <a:gd name="connsiteY3" fmla="*/ 48823 h 133009"/>
                <a:gd name="connsiteX4" fmla="*/ 122971 w 133009"/>
                <a:gd name="connsiteY4" fmla="*/ 66619 h 133009"/>
                <a:gd name="connsiteX5" fmla="*/ 66504 w 133009"/>
                <a:gd name="connsiteY5" fmla="*/ 123085 h 133009"/>
                <a:gd name="connsiteX6" fmla="*/ 10038 w 133009"/>
                <a:gd name="connsiteY6" fmla="*/ 66619 h 133009"/>
                <a:gd name="connsiteX7" fmla="*/ 66504 w 133009"/>
                <a:gd name="connsiteY7" fmla="*/ 10153 h 133009"/>
                <a:gd name="connsiteX8" fmla="*/ 105974 w 133009"/>
                <a:gd name="connsiteY8" fmla="*/ 26237 h 133009"/>
                <a:gd name="connsiteX9" fmla="*/ 109510 w 133009"/>
                <a:gd name="connsiteY9" fmla="*/ 27834 h 133009"/>
                <a:gd name="connsiteX10" fmla="*/ 109510 w 133009"/>
                <a:gd name="connsiteY10" fmla="*/ 27834 h 133009"/>
                <a:gd name="connsiteX11" fmla="*/ 113046 w 133009"/>
                <a:gd name="connsiteY11" fmla="*/ 26465 h 133009"/>
                <a:gd name="connsiteX12" fmla="*/ 114643 w 133009"/>
                <a:gd name="connsiteY12" fmla="*/ 22929 h 133009"/>
                <a:gd name="connsiteX13" fmla="*/ 113275 w 133009"/>
                <a:gd name="connsiteY13" fmla="*/ 19278 h 133009"/>
                <a:gd name="connsiteX14" fmla="*/ 66504 w 133009"/>
                <a:gd name="connsiteY14" fmla="*/ 0 h 133009"/>
                <a:gd name="connsiteX15" fmla="*/ 0 w 133009"/>
                <a:gd name="connsiteY15" fmla="*/ 66505 h 133009"/>
                <a:gd name="connsiteX16" fmla="*/ 66504 w 133009"/>
                <a:gd name="connsiteY16" fmla="*/ 133009 h 133009"/>
                <a:gd name="connsiteX17" fmla="*/ 133009 w 133009"/>
                <a:gd name="connsiteY17" fmla="*/ 66505 h 133009"/>
                <a:gd name="connsiteX18" fmla="*/ 129473 w 133009"/>
                <a:gd name="connsiteY18" fmla="*/ 45059 h 13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009" h="133009">
                  <a:moveTo>
                    <a:pt x="129473" y="45059"/>
                  </a:moveTo>
                  <a:cubicBezTo>
                    <a:pt x="129017" y="43804"/>
                    <a:pt x="127990" y="42777"/>
                    <a:pt x="126849" y="42321"/>
                  </a:cubicBezTo>
                  <a:cubicBezTo>
                    <a:pt x="125595" y="41751"/>
                    <a:pt x="124225" y="41751"/>
                    <a:pt x="122971" y="42321"/>
                  </a:cubicBezTo>
                  <a:cubicBezTo>
                    <a:pt x="120347" y="43348"/>
                    <a:pt x="119092" y="46314"/>
                    <a:pt x="120119" y="48823"/>
                  </a:cubicBezTo>
                  <a:cubicBezTo>
                    <a:pt x="122743" y="55440"/>
                    <a:pt x="122971" y="59432"/>
                    <a:pt x="122971" y="66619"/>
                  </a:cubicBezTo>
                  <a:cubicBezTo>
                    <a:pt x="122971" y="97761"/>
                    <a:pt x="97647" y="123085"/>
                    <a:pt x="66504" y="123085"/>
                  </a:cubicBezTo>
                  <a:cubicBezTo>
                    <a:pt x="35363" y="123085"/>
                    <a:pt x="10038" y="97761"/>
                    <a:pt x="10038" y="66619"/>
                  </a:cubicBezTo>
                  <a:cubicBezTo>
                    <a:pt x="10038" y="35477"/>
                    <a:pt x="35363" y="10153"/>
                    <a:pt x="66504" y="10153"/>
                  </a:cubicBezTo>
                  <a:cubicBezTo>
                    <a:pt x="82133" y="10153"/>
                    <a:pt x="95251" y="14830"/>
                    <a:pt x="105974" y="26237"/>
                  </a:cubicBezTo>
                  <a:cubicBezTo>
                    <a:pt x="106886" y="27264"/>
                    <a:pt x="108141" y="27834"/>
                    <a:pt x="109510" y="27834"/>
                  </a:cubicBezTo>
                  <a:lnTo>
                    <a:pt x="109510" y="27834"/>
                  </a:lnTo>
                  <a:cubicBezTo>
                    <a:pt x="110879" y="27834"/>
                    <a:pt x="112134" y="27378"/>
                    <a:pt x="113046" y="26465"/>
                  </a:cubicBezTo>
                  <a:cubicBezTo>
                    <a:pt x="114073" y="25553"/>
                    <a:pt x="114643" y="24298"/>
                    <a:pt x="114643" y="22929"/>
                  </a:cubicBezTo>
                  <a:cubicBezTo>
                    <a:pt x="114643" y="21560"/>
                    <a:pt x="114187" y="20305"/>
                    <a:pt x="113275" y="19278"/>
                  </a:cubicBezTo>
                  <a:cubicBezTo>
                    <a:pt x="100613" y="5818"/>
                    <a:pt x="84870" y="0"/>
                    <a:pt x="66504" y="0"/>
                  </a:cubicBezTo>
                  <a:cubicBezTo>
                    <a:pt x="29773" y="0"/>
                    <a:pt x="0" y="29887"/>
                    <a:pt x="0" y="66505"/>
                  </a:cubicBezTo>
                  <a:cubicBezTo>
                    <a:pt x="0" y="103122"/>
                    <a:pt x="29887" y="133009"/>
                    <a:pt x="66504" y="133009"/>
                  </a:cubicBezTo>
                  <a:cubicBezTo>
                    <a:pt x="103122" y="133009"/>
                    <a:pt x="133009" y="103122"/>
                    <a:pt x="133009" y="66505"/>
                  </a:cubicBezTo>
                  <a:cubicBezTo>
                    <a:pt x="133009" y="58064"/>
                    <a:pt x="132553" y="52816"/>
                    <a:pt x="129473" y="45059"/>
                  </a:cubicBezTo>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52" name="Freeform: Shape 151">
              <a:extLst>
                <a:ext uri="{FF2B5EF4-FFF2-40B4-BE49-F238E27FC236}">
                  <a16:creationId xmlns:a16="http://schemas.microsoft.com/office/drawing/2014/main" id="{CB9BB2AA-AA69-CF45-176E-A2AD30D51E84}"/>
                </a:ext>
              </a:extLst>
            </p:cNvPr>
            <p:cNvSpPr/>
            <p:nvPr/>
          </p:nvSpPr>
          <p:spPr>
            <a:xfrm>
              <a:off x="4953428" y="4923153"/>
              <a:ext cx="98516" cy="71295"/>
            </a:xfrm>
            <a:custGeom>
              <a:avLst/>
              <a:gdLst>
                <a:gd name="connsiteX0" fmla="*/ 8555 w 98516"/>
                <a:gd name="connsiteY0" fmla="*/ 33766 h 71295"/>
                <a:gd name="connsiteX1" fmla="*/ 1483 w 98516"/>
                <a:gd name="connsiteY1" fmla="*/ 33766 h 71295"/>
                <a:gd name="connsiteX2" fmla="*/ 0 w 98516"/>
                <a:gd name="connsiteY2" fmla="*/ 37302 h 71295"/>
                <a:gd name="connsiteX3" fmla="*/ 1483 w 98516"/>
                <a:gd name="connsiteY3" fmla="*/ 40838 h 71295"/>
                <a:gd name="connsiteX4" fmla="*/ 30686 w 98516"/>
                <a:gd name="connsiteY4" fmla="*/ 69813 h 71295"/>
                <a:gd name="connsiteX5" fmla="*/ 34336 w 98516"/>
                <a:gd name="connsiteY5" fmla="*/ 71296 h 71295"/>
                <a:gd name="connsiteX6" fmla="*/ 37872 w 98516"/>
                <a:gd name="connsiteY6" fmla="*/ 69813 h 71295"/>
                <a:gd name="connsiteX7" fmla="*/ 97076 w 98516"/>
                <a:gd name="connsiteY7" fmla="*/ 8555 h 71295"/>
                <a:gd name="connsiteX8" fmla="*/ 96962 w 98516"/>
                <a:gd name="connsiteY8" fmla="*/ 1483 h 71295"/>
                <a:gd name="connsiteX9" fmla="*/ 93426 w 98516"/>
                <a:gd name="connsiteY9" fmla="*/ 0 h 71295"/>
                <a:gd name="connsiteX10" fmla="*/ 89890 w 98516"/>
                <a:gd name="connsiteY10" fmla="*/ 1483 h 71295"/>
                <a:gd name="connsiteX11" fmla="*/ 34222 w 98516"/>
                <a:gd name="connsiteY11" fmla="*/ 59090 h 71295"/>
                <a:gd name="connsiteX12" fmla="*/ 8555 w 98516"/>
                <a:gd name="connsiteY12" fmla="*/ 33766 h 7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516" h="71295">
                  <a:moveTo>
                    <a:pt x="8555" y="33766"/>
                  </a:moveTo>
                  <a:cubicBezTo>
                    <a:pt x="6616" y="31826"/>
                    <a:pt x="3422" y="31826"/>
                    <a:pt x="1483" y="33766"/>
                  </a:cubicBezTo>
                  <a:cubicBezTo>
                    <a:pt x="570" y="34678"/>
                    <a:pt x="0" y="35933"/>
                    <a:pt x="0" y="37302"/>
                  </a:cubicBezTo>
                  <a:cubicBezTo>
                    <a:pt x="0" y="38671"/>
                    <a:pt x="570" y="39926"/>
                    <a:pt x="1483" y="40838"/>
                  </a:cubicBezTo>
                  <a:lnTo>
                    <a:pt x="30686" y="69813"/>
                  </a:lnTo>
                  <a:cubicBezTo>
                    <a:pt x="31598" y="70725"/>
                    <a:pt x="32853" y="71296"/>
                    <a:pt x="34336" y="71296"/>
                  </a:cubicBezTo>
                  <a:cubicBezTo>
                    <a:pt x="35705" y="71296"/>
                    <a:pt x="36960" y="70725"/>
                    <a:pt x="37872" y="69813"/>
                  </a:cubicBezTo>
                  <a:lnTo>
                    <a:pt x="97076" y="8555"/>
                  </a:lnTo>
                  <a:cubicBezTo>
                    <a:pt x="99015" y="6502"/>
                    <a:pt x="99015" y="3308"/>
                    <a:pt x="96962" y="1483"/>
                  </a:cubicBezTo>
                  <a:cubicBezTo>
                    <a:pt x="95821" y="342"/>
                    <a:pt x="94224" y="114"/>
                    <a:pt x="93426" y="0"/>
                  </a:cubicBezTo>
                  <a:cubicBezTo>
                    <a:pt x="92057" y="0"/>
                    <a:pt x="90802" y="570"/>
                    <a:pt x="89890" y="1483"/>
                  </a:cubicBezTo>
                  <a:lnTo>
                    <a:pt x="34222" y="59090"/>
                  </a:lnTo>
                  <a:lnTo>
                    <a:pt x="8555" y="33766"/>
                  </a:lnTo>
                  <a:close/>
                </a:path>
              </a:pathLst>
            </a:custGeom>
            <a:grpFill/>
            <a:ln w="11403" cap="flat">
              <a:noFill/>
              <a:prstDash val="solid"/>
              <a:miter/>
            </a:ln>
          </p:spPr>
          <p:txBody>
            <a:bodyPr rtlCol="0" anchor="ctr"/>
            <a:lstStyle/>
            <a:p>
              <a:pPr defTabSz="466522"/>
              <a:endParaRPr lang="en-AU" sz="1000">
                <a:solidFill>
                  <a:prstClr val="black"/>
                </a:solidFill>
              </a:endParaRPr>
            </a:p>
          </p:txBody>
        </p:sp>
      </p:grpSp>
      <p:cxnSp>
        <p:nvCxnSpPr>
          <p:cNvPr id="47" name="Straight Connector 46">
            <a:extLst>
              <a:ext uri="{FF2B5EF4-FFF2-40B4-BE49-F238E27FC236}">
                <a16:creationId xmlns:a16="http://schemas.microsoft.com/office/drawing/2014/main" id="{33AE302D-97FB-D2AC-2C01-99CBDA68A78B}"/>
              </a:ext>
              <a:ext uri="{C183D7F6-B498-43B3-948B-1728B52AA6E4}">
                <adec:decorative xmlns:adec="http://schemas.microsoft.com/office/drawing/2017/decorative" val="1"/>
              </a:ext>
            </a:extLst>
          </p:cNvPr>
          <p:cNvCxnSpPr>
            <a:cxnSpLocks/>
            <a:stCxn id="132" idx="4"/>
          </p:cNvCxnSpPr>
          <p:nvPr/>
        </p:nvCxnSpPr>
        <p:spPr>
          <a:xfrm>
            <a:off x="8087256" y="2481262"/>
            <a:ext cx="0" cy="487849"/>
          </a:xfrm>
          <a:prstGeom prst="line">
            <a:avLst/>
          </a:prstGeom>
          <a:ln w="1905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9409C9E9-5872-3233-109B-49FF9CF37798}"/>
              </a:ext>
              <a:ext uri="{C183D7F6-B498-43B3-948B-1728B52AA6E4}">
                <adec:decorative xmlns:adec="http://schemas.microsoft.com/office/drawing/2017/decorative" val="1"/>
              </a:ext>
            </a:extLst>
          </p:cNvPr>
          <p:cNvSpPr/>
          <p:nvPr/>
        </p:nvSpPr>
        <p:spPr>
          <a:xfrm>
            <a:off x="9212099"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accent6"/>
                </a:solidFill>
              </a:rPr>
              <a:t>6</a:t>
            </a:r>
          </a:p>
        </p:txBody>
      </p:sp>
      <p:cxnSp>
        <p:nvCxnSpPr>
          <p:cNvPr id="50" name="Straight Connector 49">
            <a:extLst>
              <a:ext uri="{FF2B5EF4-FFF2-40B4-BE49-F238E27FC236}">
                <a16:creationId xmlns:a16="http://schemas.microsoft.com/office/drawing/2014/main" id="{9247E63A-E00D-5FA5-7609-4EBC73082D0F}"/>
              </a:ext>
              <a:ext uri="{C183D7F6-B498-43B3-948B-1728B52AA6E4}">
                <adec:decorative xmlns:adec="http://schemas.microsoft.com/office/drawing/2017/decorative" val="1"/>
              </a:ext>
            </a:extLst>
          </p:cNvPr>
          <p:cNvCxnSpPr>
            <a:cxnSpLocks/>
            <a:stCxn id="49" idx="4"/>
          </p:cNvCxnSpPr>
          <p:nvPr/>
        </p:nvCxnSpPr>
        <p:spPr>
          <a:xfrm>
            <a:off x="9320748" y="2481262"/>
            <a:ext cx="0"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51" name="Graphic 10">
            <a:extLst>
              <a:ext uri="{FF2B5EF4-FFF2-40B4-BE49-F238E27FC236}">
                <a16:creationId xmlns:a16="http://schemas.microsoft.com/office/drawing/2014/main" id="{1B059B03-A2B7-1568-B815-DAC0C3804C30}"/>
              </a:ext>
              <a:ext uri="{C183D7F6-B498-43B3-948B-1728B52AA6E4}">
                <adec:decorative xmlns:adec="http://schemas.microsoft.com/office/drawing/2017/decorative" val="1"/>
              </a:ext>
            </a:extLst>
          </p:cNvPr>
          <p:cNvGrpSpPr/>
          <p:nvPr/>
        </p:nvGrpSpPr>
        <p:grpSpPr>
          <a:xfrm>
            <a:off x="9450273" y="2651633"/>
            <a:ext cx="210548" cy="249944"/>
            <a:chOff x="2249667" y="6608812"/>
            <a:chExt cx="260315" cy="309023"/>
          </a:xfrm>
          <a:solidFill>
            <a:schemeClr val="accent5"/>
          </a:solidFill>
        </p:grpSpPr>
        <p:sp>
          <p:nvSpPr>
            <p:cNvPr id="141" name="Freeform: Shape 140">
              <a:extLst>
                <a:ext uri="{FF2B5EF4-FFF2-40B4-BE49-F238E27FC236}">
                  <a16:creationId xmlns:a16="http://schemas.microsoft.com/office/drawing/2014/main" id="{E2FBE0E6-55C4-6EBE-BC30-96C08BE55BC5}"/>
                </a:ext>
              </a:extLst>
            </p:cNvPr>
            <p:cNvSpPr/>
            <p:nvPr/>
          </p:nvSpPr>
          <p:spPr>
            <a:xfrm>
              <a:off x="2389065" y="6796918"/>
              <a:ext cx="120917" cy="120917"/>
            </a:xfrm>
            <a:custGeom>
              <a:avLst/>
              <a:gdLst>
                <a:gd name="connsiteX0" fmla="*/ 117723 w 120917"/>
                <a:gd name="connsiteY0" fmla="*/ 40838 h 120917"/>
                <a:gd name="connsiteX1" fmla="*/ 115328 w 120917"/>
                <a:gd name="connsiteY1" fmla="*/ 38328 h 120917"/>
                <a:gd name="connsiteX2" fmla="*/ 111792 w 120917"/>
                <a:gd name="connsiteY2" fmla="*/ 38328 h 120917"/>
                <a:gd name="connsiteX3" fmla="*/ 109168 w 120917"/>
                <a:gd name="connsiteY3" fmla="*/ 44260 h 120917"/>
                <a:gd name="connsiteX4" fmla="*/ 111792 w 120917"/>
                <a:gd name="connsiteY4" fmla="*/ 60459 h 120917"/>
                <a:gd name="connsiteX5" fmla="*/ 60459 w 120917"/>
                <a:gd name="connsiteY5" fmla="*/ 111792 h 120917"/>
                <a:gd name="connsiteX6" fmla="*/ 9126 w 120917"/>
                <a:gd name="connsiteY6" fmla="*/ 60459 h 120917"/>
                <a:gd name="connsiteX7" fmla="*/ 60459 w 120917"/>
                <a:gd name="connsiteY7" fmla="*/ 9126 h 120917"/>
                <a:gd name="connsiteX8" fmla="*/ 96392 w 120917"/>
                <a:gd name="connsiteY8" fmla="*/ 23727 h 120917"/>
                <a:gd name="connsiteX9" fmla="*/ 99586 w 120917"/>
                <a:gd name="connsiteY9" fmla="*/ 25210 h 120917"/>
                <a:gd name="connsiteX10" fmla="*/ 99586 w 120917"/>
                <a:gd name="connsiteY10" fmla="*/ 25210 h 120917"/>
                <a:gd name="connsiteX11" fmla="*/ 102780 w 120917"/>
                <a:gd name="connsiteY11" fmla="*/ 23955 h 120917"/>
                <a:gd name="connsiteX12" fmla="*/ 104263 w 120917"/>
                <a:gd name="connsiteY12" fmla="*/ 20761 h 120917"/>
                <a:gd name="connsiteX13" fmla="*/ 103008 w 120917"/>
                <a:gd name="connsiteY13" fmla="*/ 17453 h 120917"/>
                <a:gd name="connsiteX14" fmla="*/ 60459 w 120917"/>
                <a:gd name="connsiteY14" fmla="*/ 0 h 120917"/>
                <a:gd name="connsiteX15" fmla="*/ 0 w 120917"/>
                <a:gd name="connsiteY15" fmla="*/ 60459 h 120917"/>
                <a:gd name="connsiteX16" fmla="*/ 60459 w 120917"/>
                <a:gd name="connsiteY16" fmla="*/ 120917 h 120917"/>
                <a:gd name="connsiteX17" fmla="*/ 120917 w 120917"/>
                <a:gd name="connsiteY17" fmla="*/ 60459 h 120917"/>
                <a:gd name="connsiteX18" fmla="*/ 117723 w 120917"/>
                <a:gd name="connsiteY18" fmla="*/ 40952 h 12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917" h="120917">
                  <a:moveTo>
                    <a:pt x="117723" y="40838"/>
                  </a:moveTo>
                  <a:cubicBezTo>
                    <a:pt x="117267" y="39697"/>
                    <a:pt x="116469" y="38784"/>
                    <a:pt x="115328" y="38328"/>
                  </a:cubicBezTo>
                  <a:cubicBezTo>
                    <a:pt x="114187" y="37872"/>
                    <a:pt x="112932" y="37872"/>
                    <a:pt x="111792" y="38328"/>
                  </a:cubicBezTo>
                  <a:cubicBezTo>
                    <a:pt x="109396" y="39241"/>
                    <a:pt x="108255" y="41979"/>
                    <a:pt x="109168" y="44260"/>
                  </a:cubicBezTo>
                  <a:cubicBezTo>
                    <a:pt x="111563" y="50192"/>
                    <a:pt x="111792" y="53956"/>
                    <a:pt x="111792" y="60459"/>
                  </a:cubicBezTo>
                  <a:cubicBezTo>
                    <a:pt x="111792" y="88749"/>
                    <a:pt x="88749" y="111792"/>
                    <a:pt x="60459" y="111792"/>
                  </a:cubicBezTo>
                  <a:cubicBezTo>
                    <a:pt x="32169" y="111792"/>
                    <a:pt x="9126" y="88749"/>
                    <a:pt x="9126" y="60459"/>
                  </a:cubicBezTo>
                  <a:cubicBezTo>
                    <a:pt x="9126" y="32169"/>
                    <a:pt x="32169" y="9126"/>
                    <a:pt x="60459" y="9126"/>
                  </a:cubicBezTo>
                  <a:cubicBezTo>
                    <a:pt x="74718" y="9126"/>
                    <a:pt x="86581" y="13346"/>
                    <a:pt x="96392" y="23727"/>
                  </a:cubicBezTo>
                  <a:cubicBezTo>
                    <a:pt x="97190" y="24639"/>
                    <a:pt x="98331" y="25096"/>
                    <a:pt x="99586" y="25210"/>
                  </a:cubicBezTo>
                  <a:lnTo>
                    <a:pt x="99586" y="25210"/>
                  </a:lnTo>
                  <a:cubicBezTo>
                    <a:pt x="100841" y="25210"/>
                    <a:pt x="101981" y="24754"/>
                    <a:pt x="102780" y="23955"/>
                  </a:cubicBezTo>
                  <a:cubicBezTo>
                    <a:pt x="103692" y="23156"/>
                    <a:pt x="104149" y="22016"/>
                    <a:pt x="104263" y="20761"/>
                  </a:cubicBezTo>
                  <a:cubicBezTo>
                    <a:pt x="104263" y="19506"/>
                    <a:pt x="103806" y="18366"/>
                    <a:pt x="103008" y="17453"/>
                  </a:cubicBezTo>
                  <a:cubicBezTo>
                    <a:pt x="91487" y="5247"/>
                    <a:pt x="77227" y="0"/>
                    <a:pt x="60459" y="0"/>
                  </a:cubicBezTo>
                  <a:cubicBezTo>
                    <a:pt x="27149" y="0"/>
                    <a:pt x="0" y="27149"/>
                    <a:pt x="0" y="60459"/>
                  </a:cubicBezTo>
                  <a:cubicBezTo>
                    <a:pt x="0" y="93768"/>
                    <a:pt x="27149" y="120917"/>
                    <a:pt x="60459" y="120917"/>
                  </a:cubicBezTo>
                  <a:cubicBezTo>
                    <a:pt x="93768" y="120917"/>
                    <a:pt x="120917" y="93768"/>
                    <a:pt x="120917" y="60459"/>
                  </a:cubicBezTo>
                  <a:cubicBezTo>
                    <a:pt x="120917" y="52816"/>
                    <a:pt x="120461" y="48024"/>
                    <a:pt x="117723" y="40952"/>
                  </a:cubicBezTo>
                </a:path>
              </a:pathLst>
            </a:custGeom>
            <a:grpFill/>
            <a:ln w="11403" cap="flat">
              <a:noFill/>
              <a:prstDash val="solid"/>
              <a:miter/>
            </a:ln>
          </p:spPr>
          <p:txBody>
            <a:bodyPr rtlCol="0" anchor="ctr"/>
            <a:lstStyle/>
            <a:p>
              <a:pPr defTabSz="466522"/>
              <a:endParaRPr lang="en-AU" sz="1000" dirty="0">
                <a:solidFill>
                  <a:prstClr val="black"/>
                </a:solidFill>
              </a:endParaRPr>
            </a:p>
          </p:txBody>
        </p:sp>
        <p:sp>
          <p:nvSpPr>
            <p:cNvPr id="142" name="Freeform: Shape 141">
              <a:extLst>
                <a:ext uri="{FF2B5EF4-FFF2-40B4-BE49-F238E27FC236}">
                  <a16:creationId xmlns:a16="http://schemas.microsoft.com/office/drawing/2014/main" id="{8C6A1A2B-8D85-4F85-E6EB-6371F705B0C2}"/>
                </a:ext>
              </a:extLst>
            </p:cNvPr>
            <p:cNvSpPr/>
            <p:nvPr/>
          </p:nvSpPr>
          <p:spPr>
            <a:xfrm>
              <a:off x="2418381" y="6815284"/>
              <a:ext cx="89575" cy="64793"/>
            </a:xfrm>
            <a:custGeom>
              <a:avLst/>
              <a:gdLst>
                <a:gd name="connsiteX0" fmla="*/ 7871 w 89575"/>
                <a:gd name="connsiteY0" fmla="*/ 30800 h 64793"/>
                <a:gd name="connsiteX1" fmla="*/ 1369 w 89575"/>
                <a:gd name="connsiteY1" fmla="*/ 30800 h 64793"/>
                <a:gd name="connsiteX2" fmla="*/ 0 w 89575"/>
                <a:gd name="connsiteY2" fmla="*/ 33994 h 64793"/>
                <a:gd name="connsiteX3" fmla="*/ 1369 w 89575"/>
                <a:gd name="connsiteY3" fmla="*/ 37188 h 64793"/>
                <a:gd name="connsiteX4" fmla="*/ 27948 w 89575"/>
                <a:gd name="connsiteY4" fmla="*/ 63425 h 64793"/>
                <a:gd name="connsiteX5" fmla="*/ 31256 w 89575"/>
                <a:gd name="connsiteY5" fmla="*/ 64793 h 64793"/>
                <a:gd name="connsiteX6" fmla="*/ 34450 w 89575"/>
                <a:gd name="connsiteY6" fmla="*/ 63425 h 64793"/>
                <a:gd name="connsiteX7" fmla="*/ 88293 w 89575"/>
                <a:gd name="connsiteY7" fmla="*/ 7757 h 64793"/>
                <a:gd name="connsiteX8" fmla="*/ 88293 w 89575"/>
                <a:gd name="connsiteY8" fmla="*/ 1255 h 64793"/>
                <a:gd name="connsiteX9" fmla="*/ 84984 w 89575"/>
                <a:gd name="connsiteY9" fmla="*/ 0 h 64793"/>
                <a:gd name="connsiteX10" fmla="*/ 81790 w 89575"/>
                <a:gd name="connsiteY10" fmla="*/ 1369 h 64793"/>
                <a:gd name="connsiteX11" fmla="*/ 31256 w 89575"/>
                <a:gd name="connsiteY11" fmla="*/ 53615 h 64793"/>
                <a:gd name="connsiteX12" fmla="*/ 7985 w 89575"/>
                <a:gd name="connsiteY12" fmla="*/ 30572 h 6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75" h="64793">
                  <a:moveTo>
                    <a:pt x="7871" y="30800"/>
                  </a:moveTo>
                  <a:cubicBezTo>
                    <a:pt x="6046" y="28974"/>
                    <a:pt x="3194" y="29089"/>
                    <a:pt x="1369" y="30800"/>
                  </a:cubicBezTo>
                  <a:cubicBezTo>
                    <a:pt x="456" y="31713"/>
                    <a:pt x="0" y="32853"/>
                    <a:pt x="0" y="33994"/>
                  </a:cubicBezTo>
                  <a:cubicBezTo>
                    <a:pt x="0" y="35249"/>
                    <a:pt x="456" y="36389"/>
                    <a:pt x="1369" y="37188"/>
                  </a:cubicBezTo>
                  <a:lnTo>
                    <a:pt x="27948" y="63425"/>
                  </a:lnTo>
                  <a:cubicBezTo>
                    <a:pt x="28860" y="64337"/>
                    <a:pt x="30001" y="64793"/>
                    <a:pt x="31256" y="64793"/>
                  </a:cubicBezTo>
                  <a:cubicBezTo>
                    <a:pt x="32511" y="64793"/>
                    <a:pt x="33652" y="64223"/>
                    <a:pt x="34450" y="63425"/>
                  </a:cubicBezTo>
                  <a:lnTo>
                    <a:pt x="88293" y="7757"/>
                  </a:lnTo>
                  <a:cubicBezTo>
                    <a:pt x="90004" y="5932"/>
                    <a:pt x="90004" y="3080"/>
                    <a:pt x="88293" y="1255"/>
                  </a:cubicBezTo>
                  <a:cubicBezTo>
                    <a:pt x="87266" y="228"/>
                    <a:pt x="85783" y="0"/>
                    <a:pt x="84984" y="0"/>
                  </a:cubicBezTo>
                  <a:cubicBezTo>
                    <a:pt x="83730" y="0"/>
                    <a:pt x="82589" y="570"/>
                    <a:pt x="81790" y="1369"/>
                  </a:cubicBezTo>
                  <a:lnTo>
                    <a:pt x="31256" y="53615"/>
                  </a:lnTo>
                  <a:lnTo>
                    <a:pt x="7985" y="30572"/>
                  </a:lnTo>
                  <a:close/>
                </a:path>
              </a:pathLst>
            </a:custGeom>
            <a:grpFill/>
            <a:ln w="11403" cap="flat">
              <a:noFill/>
              <a:prstDash val="solid"/>
              <a:miter/>
            </a:ln>
          </p:spPr>
          <p:txBody>
            <a:bodyPr rtlCol="0" anchor="ctr"/>
            <a:lstStyle/>
            <a:p>
              <a:pPr defTabSz="466522"/>
              <a:endParaRPr lang="en-AU" sz="1000" dirty="0">
                <a:solidFill>
                  <a:prstClr val="black"/>
                </a:solidFill>
              </a:endParaRPr>
            </a:p>
          </p:txBody>
        </p:sp>
        <p:sp>
          <p:nvSpPr>
            <p:cNvPr id="143" name="Freeform: Shape 142">
              <a:extLst>
                <a:ext uri="{FF2B5EF4-FFF2-40B4-BE49-F238E27FC236}">
                  <a16:creationId xmlns:a16="http://schemas.microsoft.com/office/drawing/2014/main" id="{C91F4668-763C-0B40-D0ED-4DD8FBF68412}"/>
                </a:ext>
              </a:extLst>
            </p:cNvPr>
            <p:cNvSpPr/>
            <p:nvPr/>
          </p:nvSpPr>
          <p:spPr>
            <a:xfrm>
              <a:off x="2249667" y="6608812"/>
              <a:ext cx="220845" cy="270923"/>
            </a:xfrm>
            <a:custGeom>
              <a:avLst/>
              <a:gdLst>
                <a:gd name="connsiteX0" fmla="*/ 132211 w 220845"/>
                <a:gd name="connsiteY0" fmla="*/ 261227 h 270923"/>
                <a:gd name="connsiteX1" fmla="*/ 22586 w 220845"/>
                <a:gd name="connsiteY1" fmla="*/ 261227 h 270923"/>
                <a:gd name="connsiteX2" fmla="*/ 9696 w 220845"/>
                <a:gd name="connsiteY2" fmla="*/ 248337 h 270923"/>
                <a:gd name="connsiteX3" fmla="*/ 9696 w 220845"/>
                <a:gd name="connsiteY3" fmla="*/ 22586 h 270923"/>
                <a:gd name="connsiteX4" fmla="*/ 22586 w 220845"/>
                <a:gd name="connsiteY4" fmla="*/ 9696 h 270923"/>
                <a:gd name="connsiteX5" fmla="*/ 137002 w 220845"/>
                <a:gd name="connsiteY5" fmla="*/ 9696 h 270923"/>
                <a:gd name="connsiteX6" fmla="*/ 137002 w 220845"/>
                <a:gd name="connsiteY6" fmla="*/ 72550 h 270923"/>
                <a:gd name="connsiteX7" fmla="*/ 148295 w 220845"/>
                <a:gd name="connsiteY7" fmla="*/ 83843 h 270923"/>
                <a:gd name="connsiteX8" fmla="*/ 211149 w 220845"/>
                <a:gd name="connsiteY8" fmla="*/ 83843 h 270923"/>
                <a:gd name="connsiteX9" fmla="*/ 211149 w 220845"/>
                <a:gd name="connsiteY9" fmla="*/ 182403 h 270923"/>
                <a:gd name="connsiteX10" fmla="*/ 220846 w 220845"/>
                <a:gd name="connsiteY10" fmla="*/ 182403 h 270923"/>
                <a:gd name="connsiteX11" fmla="*/ 220846 w 220845"/>
                <a:gd name="connsiteY11" fmla="*/ 67759 h 270923"/>
                <a:gd name="connsiteX12" fmla="*/ 159588 w 220845"/>
                <a:gd name="connsiteY12" fmla="*/ 0 h 270923"/>
                <a:gd name="connsiteX13" fmla="*/ 22586 w 220845"/>
                <a:gd name="connsiteY13" fmla="*/ 0 h 270923"/>
                <a:gd name="connsiteX14" fmla="*/ 0 w 220845"/>
                <a:gd name="connsiteY14" fmla="*/ 22586 h 270923"/>
                <a:gd name="connsiteX15" fmla="*/ 0 w 220845"/>
                <a:gd name="connsiteY15" fmla="*/ 248337 h 270923"/>
                <a:gd name="connsiteX16" fmla="*/ 22586 w 220845"/>
                <a:gd name="connsiteY16" fmla="*/ 270924 h 270923"/>
                <a:gd name="connsiteX17" fmla="*/ 132211 w 220845"/>
                <a:gd name="connsiteY17" fmla="*/ 270924 h 270923"/>
                <a:gd name="connsiteX18" fmla="*/ 132211 w 220845"/>
                <a:gd name="connsiteY18" fmla="*/ 261227 h 270923"/>
                <a:gd name="connsiteX19" fmla="*/ 146698 w 220845"/>
                <a:gd name="connsiteY19" fmla="*/ 9696 h 270923"/>
                <a:gd name="connsiteX20" fmla="*/ 154797 w 220845"/>
                <a:gd name="connsiteY20" fmla="*/ 9696 h 270923"/>
                <a:gd name="connsiteX21" fmla="*/ 212860 w 220845"/>
                <a:gd name="connsiteY21" fmla="*/ 74148 h 270923"/>
                <a:gd name="connsiteX22" fmla="*/ 146812 w 220845"/>
                <a:gd name="connsiteY22" fmla="*/ 74148 h 270923"/>
                <a:gd name="connsiteX23" fmla="*/ 146812 w 220845"/>
                <a:gd name="connsiteY23" fmla="*/ 9696 h 27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0845" h="270923">
                  <a:moveTo>
                    <a:pt x="132211" y="261227"/>
                  </a:moveTo>
                  <a:lnTo>
                    <a:pt x="22586" y="261227"/>
                  </a:lnTo>
                  <a:cubicBezTo>
                    <a:pt x="16084" y="261227"/>
                    <a:pt x="9696" y="254725"/>
                    <a:pt x="9696" y="248337"/>
                  </a:cubicBezTo>
                  <a:lnTo>
                    <a:pt x="9696" y="22586"/>
                  </a:lnTo>
                  <a:cubicBezTo>
                    <a:pt x="9696" y="16084"/>
                    <a:pt x="16198" y="9696"/>
                    <a:pt x="22586" y="9696"/>
                  </a:cubicBezTo>
                  <a:lnTo>
                    <a:pt x="137002" y="9696"/>
                  </a:lnTo>
                  <a:lnTo>
                    <a:pt x="137002" y="72550"/>
                  </a:lnTo>
                  <a:cubicBezTo>
                    <a:pt x="137002" y="79053"/>
                    <a:pt x="141793" y="83843"/>
                    <a:pt x="148295" y="83843"/>
                  </a:cubicBezTo>
                  <a:lnTo>
                    <a:pt x="211149" y="83843"/>
                  </a:lnTo>
                  <a:lnTo>
                    <a:pt x="211149" y="182403"/>
                  </a:lnTo>
                  <a:lnTo>
                    <a:pt x="220846" y="182403"/>
                  </a:lnTo>
                  <a:lnTo>
                    <a:pt x="220846" y="67759"/>
                  </a:lnTo>
                  <a:lnTo>
                    <a:pt x="159588" y="0"/>
                  </a:lnTo>
                  <a:lnTo>
                    <a:pt x="22586" y="0"/>
                  </a:lnTo>
                  <a:cubicBezTo>
                    <a:pt x="9696" y="0"/>
                    <a:pt x="0" y="9696"/>
                    <a:pt x="0" y="22586"/>
                  </a:cubicBezTo>
                  <a:lnTo>
                    <a:pt x="0" y="248337"/>
                  </a:lnTo>
                  <a:cubicBezTo>
                    <a:pt x="0" y="261227"/>
                    <a:pt x="9696" y="270924"/>
                    <a:pt x="22586" y="270924"/>
                  </a:cubicBezTo>
                  <a:lnTo>
                    <a:pt x="132211" y="270924"/>
                  </a:lnTo>
                  <a:lnTo>
                    <a:pt x="132211" y="261227"/>
                  </a:lnTo>
                  <a:close/>
                  <a:moveTo>
                    <a:pt x="146698" y="9696"/>
                  </a:moveTo>
                  <a:lnTo>
                    <a:pt x="154797" y="9696"/>
                  </a:lnTo>
                  <a:lnTo>
                    <a:pt x="212860" y="74148"/>
                  </a:lnTo>
                  <a:lnTo>
                    <a:pt x="146812" y="74148"/>
                  </a:lnTo>
                  <a:lnTo>
                    <a:pt x="146812" y="9696"/>
                  </a:lnTo>
                  <a:close/>
                </a:path>
              </a:pathLst>
            </a:custGeom>
            <a:grpFill/>
            <a:ln w="11403" cap="flat">
              <a:noFill/>
              <a:prstDash val="solid"/>
              <a:miter/>
            </a:ln>
          </p:spPr>
          <p:txBody>
            <a:bodyPr rtlCol="0" anchor="ctr"/>
            <a:lstStyle/>
            <a:p>
              <a:pPr defTabSz="466522"/>
              <a:endParaRPr lang="en-AU" sz="1000">
                <a:solidFill>
                  <a:prstClr val="black"/>
                </a:solidFill>
              </a:endParaRPr>
            </a:p>
          </p:txBody>
        </p:sp>
      </p:grpSp>
      <p:cxnSp>
        <p:nvCxnSpPr>
          <p:cNvPr id="52" name="Straight Connector 51">
            <a:extLst>
              <a:ext uri="{FF2B5EF4-FFF2-40B4-BE49-F238E27FC236}">
                <a16:creationId xmlns:a16="http://schemas.microsoft.com/office/drawing/2014/main" id="{F3C41C97-ED22-8A70-0373-9F70FF305679}"/>
              </a:ext>
              <a:ext uri="{C183D7F6-B498-43B3-948B-1728B52AA6E4}">
                <adec:decorative xmlns:adec="http://schemas.microsoft.com/office/drawing/2017/decorative" val="1"/>
              </a:ext>
            </a:extLst>
          </p:cNvPr>
          <p:cNvCxnSpPr>
            <a:cxnSpLocks/>
            <a:stCxn id="62" idx="6"/>
            <a:endCxn id="54" idx="2"/>
          </p:cNvCxnSpPr>
          <p:nvPr/>
        </p:nvCxnSpPr>
        <p:spPr>
          <a:xfrm>
            <a:off x="2638207" y="2372613"/>
            <a:ext cx="1144073"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33C1A730-1B01-F015-9DD5-63222BC76C88}"/>
              </a:ext>
              <a:ext uri="{C183D7F6-B498-43B3-948B-1728B52AA6E4}">
                <adec:decorative xmlns:adec="http://schemas.microsoft.com/office/drawing/2017/decorative" val="1"/>
              </a:ext>
            </a:extLst>
          </p:cNvPr>
          <p:cNvSpPr/>
          <p:nvPr/>
        </p:nvSpPr>
        <p:spPr>
          <a:xfrm>
            <a:off x="3782280"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2</a:t>
            </a:r>
          </a:p>
        </p:txBody>
      </p:sp>
      <p:cxnSp>
        <p:nvCxnSpPr>
          <p:cNvPr id="55" name="Straight Connector 54">
            <a:extLst>
              <a:ext uri="{FF2B5EF4-FFF2-40B4-BE49-F238E27FC236}">
                <a16:creationId xmlns:a16="http://schemas.microsoft.com/office/drawing/2014/main" id="{B420F2F9-5177-2995-F617-F04063F87E98}"/>
              </a:ext>
              <a:ext uri="{C183D7F6-B498-43B3-948B-1728B52AA6E4}">
                <adec:decorative xmlns:adec="http://schemas.microsoft.com/office/drawing/2017/decorative" val="1"/>
              </a:ext>
            </a:extLst>
          </p:cNvPr>
          <p:cNvCxnSpPr>
            <a:cxnSpLocks/>
            <a:stCxn id="54" idx="4"/>
          </p:cNvCxnSpPr>
          <p:nvPr/>
        </p:nvCxnSpPr>
        <p:spPr>
          <a:xfrm>
            <a:off x="3890929" y="2481262"/>
            <a:ext cx="0"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sp>
        <p:nvSpPr>
          <p:cNvPr id="56" name="Freeform: Shape 55">
            <a:extLst>
              <a:ext uri="{FF2B5EF4-FFF2-40B4-BE49-F238E27FC236}">
                <a16:creationId xmlns:a16="http://schemas.microsoft.com/office/drawing/2014/main" id="{991AC3C5-CC1F-035D-3A0E-B5B9BAAD5541}"/>
              </a:ext>
              <a:ext uri="{C183D7F6-B498-43B3-948B-1728B52AA6E4}">
                <adec:decorative xmlns:adec="http://schemas.microsoft.com/office/drawing/2017/decorative" val="1"/>
              </a:ext>
            </a:extLst>
          </p:cNvPr>
          <p:cNvSpPr/>
          <p:nvPr/>
        </p:nvSpPr>
        <p:spPr>
          <a:xfrm>
            <a:off x="2564181" y="2646065"/>
            <a:ext cx="245364" cy="234823"/>
          </a:xfrm>
          <a:custGeom>
            <a:avLst/>
            <a:gdLst>
              <a:gd name="connsiteX0" fmla="*/ 329685 w 330369"/>
              <a:gd name="connsiteY0" fmla="*/ 224918 h 316176"/>
              <a:gd name="connsiteX1" fmla="*/ 328545 w 330369"/>
              <a:gd name="connsiteY1" fmla="*/ 220926 h 316176"/>
              <a:gd name="connsiteX2" fmla="*/ 312232 w 330369"/>
              <a:gd name="connsiteY2" fmla="*/ 192749 h 316176"/>
              <a:gd name="connsiteX3" fmla="*/ 292840 w 330369"/>
              <a:gd name="connsiteY3" fmla="*/ 159212 h 316176"/>
              <a:gd name="connsiteX4" fmla="*/ 287136 w 330369"/>
              <a:gd name="connsiteY4" fmla="*/ 155790 h 316176"/>
              <a:gd name="connsiteX5" fmla="*/ 287136 w 330369"/>
              <a:gd name="connsiteY5" fmla="*/ 155790 h 316176"/>
              <a:gd name="connsiteX6" fmla="*/ 273219 w 330369"/>
              <a:gd name="connsiteY6" fmla="*/ 155790 h 316176"/>
              <a:gd name="connsiteX7" fmla="*/ 267173 w 330369"/>
              <a:gd name="connsiteY7" fmla="*/ 155790 h 316176"/>
              <a:gd name="connsiteX8" fmla="*/ 254511 w 330369"/>
              <a:gd name="connsiteY8" fmla="*/ 155790 h 316176"/>
              <a:gd name="connsiteX9" fmla="*/ 248579 w 330369"/>
              <a:gd name="connsiteY9" fmla="*/ 155790 h 316176"/>
              <a:gd name="connsiteX10" fmla="*/ 248579 w 330369"/>
              <a:gd name="connsiteY10" fmla="*/ 125218 h 316176"/>
              <a:gd name="connsiteX11" fmla="*/ 248579 w 330369"/>
              <a:gd name="connsiteY11" fmla="*/ 87916 h 316176"/>
              <a:gd name="connsiteX12" fmla="*/ 231126 w 330369"/>
              <a:gd name="connsiteY12" fmla="*/ 69893 h 316176"/>
              <a:gd name="connsiteX13" fmla="*/ 231126 w 330369"/>
              <a:gd name="connsiteY13" fmla="*/ 69893 h 316176"/>
              <a:gd name="connsiteX14" fmla="*/ 174546 w 330369"/>
              <a:gd name="connsiteY14" fmla="*/ 69893 h 316176"/>
              <a:gd name="connsiteX15" fmla="*/ 174546 w 330369"/>
              <a:gd name="connsiteY15" fmla="*/ 69893 h 316176"/>
              <a:gd name="connsiteX16" fmla="*/ 170782 w 330369"/>
              <a:gd name="connsiteY16" fmla="*/ 67954 h 316176"/>
              <a:gd name="connsiteX17" fmla="*/ 161199 w 330369"/>
              <a:gd name="connsiteY17" fmla="*/ 53466 h 316176"/>
              <a:gd name="connsiteX18" fmla="*/ 160287 w 330369"/>
              <a:gd name="connsiteY18" fmla="*/ 52097 h 316176"/>
              <a:gd name="connsiteX19" fmla="*/ 132567 w 330369"/>
              <a:gd name="connsiteY19" fmla="*/ 35101 h 316176"/>
              <a:gd name="connsiteX20" fmla="*/ 89219 w 330369"/>
              <a:gd name="connsiteY20" fmla="*/ 32591 h 316176"/>
              <a:gd name="connsiteX21" fmla="*/ 70397 w 330369"/>
              <a:gd name="connsiteY21" fmla="*/ 26773 h 316176"/>
              <a:gd name="connsiteX22" fmla="*/ 64922 w 330369"/>
              <a:gd name="connsiteY22" fmla="*/ 24264 h 316176"/>
              <a:gd name="connsiteX23" fmla="*/ 64922 w 330369"/>
              <a:gd name="connsiteY23" fmla="*/ 23921 h 316176"/>
              <a:gd name="connsiteX24" fmla="*/ 65378 w 330369"/>
              <a:gd name="connsiteY24" fmla="*/ 23009 h 316176"/>
              <a:gd name="connsiteX25" fmla="*/ 58876 w 330369"/>
              <a:gd name="connsiteY25" fmla="*/ 6468 h 316176"/>
              <a:gd name="connsiteX26" fmla="*/ 50891 w 330369"/>
              <a:gd name="connsiteY26" fmla="*/ 2704 h 316176"/>
              <a:gd name="connsiteX27" fmla="*/ 48153 w 330369"/>
              <a:gd name="connsiteY27" fmla="*/ 1449 h 316176"/>
              <a:gd name="connsiteX28" fmla="*/ 31840 w 330369"/>
              <a:gd name="connsiteY28" fmla="*/ 7153 h 316176"/>
              <a:gd name="connsiteX29" fmla="*/ 1383 w 330369"/>
              <a:gd name="connsiteY29" fmla="*/ 72288 h 316176"/>
              <a:gd name="connsiteX30" fmla="*/ 6859 w 330369"/>
              <a:gd name="connsiteY30" fmla="*/ 88259 h 316176"/>
              <a:gd name="connsiteX31" fmla="*/ 16441 w 330369"/>
              <a:gd name="connsiteY31" fmla="*/ 92821 h 316176"/>
              <a:gd name="connsiteX32" fmla="*/ 19064 w 330369"/>
              <a:gd name="connsiteY32" fmla="*/ 94076 h 316176"/>
              <a:gd name="connsiteX33" fmla="*/ 35034 w 330369"/>
              <a:gd name="connsiteY33" fmla="*/ 88487 h 316176"/>
              <a:gd name="connsiteX34" fmla="*/ 36517 w 330369"/>
              <a:gd name="connsiteY34" fmla="*/ 85635 h 316176"/>
              <a:gd name="connsiteX35" fmla="*/ 36746 w 330369"/>
              <a:gd name="connsiteY35" fmla="*/ 85065 h 316176"/>
              <a:gd name="connsiteX36" fmla="*/ 41309 w 330369"/>
              <a:gd name="connsiteY36" fmla="*/ 87232 h 316176"/>
              <a:gd name="connsiteX37" fmla="*/ 56708 w 330369"/>
              <a:gd name="connsiteY37" fmla="*/ 94419 h 316176"/>
              <a:gd name="connsiteX38" fmla="*/ 84314 w 330369"/>
              <a:gd name="connsiteY38" fmla="*/ 100921 h 316176"/>
              <a:gd name="connsiteX39" fmla="*/ 85569 w 330369"/>
              <a:gd name="connsiteY39" fmla="*/ 100921 h 316176"/>
              <a:gd name="connsiteX40" fmla="*/ 112262 w 330369"/>
              <a:gd name="connsiteY40" fmla="*/ 107195 h 316176"/>
              <a:gd name="connsiteX41" fmla="*/ 127434 w 330369"/>
              <a:gd name="connsiteY41" fmla="*/ 114267 h 316176"/>
              <a:gd name="connsiteX42" fmla="*/ 134050 w 330369"/>
              <a:gd name="connsiteY42" fmla="*/ 117347 h 316176"/>
              <a:gd name="connsiteX43" fmla="*/ 134050 w 330369"/>
              <a:gd name="connsiteY43" fmla="*/ 155790 h 316176"/>
              <a:gd name="connsiteX44" fmla="*/ 133366 w 330369"/>
              <a:gd name="connsiteY44" fmla="*/ 155790 h 316176"/>
              <a:gd name="connsiteX45" fmla="*/ 131426 w 330369"/>
              <a:gd name="connsiteY45" fmla="*/ 155790 h 316176"/>
              <a:gd name="connsiteX46" fmla="*/ 121844 w 330369"/>
              <a:gd name="connsiteY46" fmla="*/ 155790 h 316176"/>
              <a:gd name="connsiteX47" fmla="*/ 97204 w 330369"/>
              <a:gd name="connsiteY47" fmla="*/ 155904 h 316176"/>
              <a:gd name="connsiteX48" fmla="*/ 97204 w 330369"/>
              <a:gd name="connsiteY48" fmla="*/ 155904 h 316176"/>
              <a:gd name="connsiteX49" fmla="*/ 90360 w 330369"/>
              <a:gd name="connsiteY49" fmla="*/ 159897 h 316176"/>
              <a:gd name="connsiteX50" fmla="*/ 69713 w 330369"/>
              <a:gd name="connsiteY50" fmla="*/ 195830 h 316176"/>
              <a:gd name="connsiteX51" fmla="*/ 55340 w 330369"/>
              <a:gd name="connsiteY51" fmla="*/ 220812 h 316176"/>
              <a:gd name="connsiteX52" fmla="*/ 53971 w 330369"/>
              <a:gd name="connsiteY52" fmla="*/ 224690 h 316176"/>
              <a:gd name="connsiteX53" fmla="*/ 53971 w 330369"/>
              <a:gd name="connsiteY53" fmla="*/ 240432 h 316176"/>
              <a:gd name="connsiteX54" fmla="*/ 53971 w 330369"/>
              <a:gd name="connsiteY54" fmla="*/ 245451 h 316176"/>
              <a:gd name="connsiteX55" fmla="*/ 58419 w 330369"/>
              <a:gd name="connsiteY55" fmla="*/ 250014 h 316176"/>
              <a:gd name="connsiteX56" fmla="*/ 62868 w 330369"/>
              <a:gd name="connsiteY56" fmla="*/ 250014 h 316176"/>
              <a:gd name="connsiteX57" fmla="*/ 64123 w 330369"/>
              <a:gd name="connsiteY57" fmla="*/ 250014 h 316176"/>
              <a:gd name="connsiteX58" fmla="*/ 79979 w 330369"/>
              <a:gd name="connsiteY58" fmla="*/ 250014 h 316176"/>
              <a:gd name="connsiteX59" fmla="*/ 87736 w 330369"/>
              <a:gd name="connsiteY59" fmla="*/ 250014 h 316176"/>
              <a:gd name="connsiteX60" fmla="*/ 87736 w 330369"/>
              <a:gd name="connsiteY60" fmla="*/ 253779 h 316176"/>
              <a:gd name="connsiteX61" fmla="*/ 87736 w 330369"/>
              <a:gd name="connsiteY61" fmla="*/ 309332 h 316176"/>
              <a:gd name="connsiteX62" fmla="*/ 94581 w 330369"/>
              <a:gd name="connsiteY62" fmla="*/ 316177 h 316176"/>
              <a:gd name="connsiteX63" fmla="*/ 124696 w 330369"/>
              <a:gd name="connsiteY63" fmla="*/ 316177 h 316176"/>
              <a:gd name="connsiteX64" fmla="*/ 169869 w 330369"/>
              <a:gd name="connsiteY64" fmla="*/ 316177 h 316176"/>
              <a:gd name="connsiteX65" fmla="*/ 289532 w 330369"/>
              <a:gd name="connsiteY65" fmla="*/ 316177 h 316176"/>
              <a:gd name="connsiteX66" fmla="*/ 296718 w 330369"/>
              <a:gd name="connsiteY66" fmla="*/ 309218 h 316176"/>
              <a:gd name="connsiteX67" fmla="*/ 296718 w 330369"/>
              <a:gd name="connsiteY67" fmla="*/ 252980 h 316176"/>
              <a:gd name="connsiteX68" fmla="*/ 296718 w 330369"/>
              <a:gd name="connsiteY68" fmla="*/ 249900 h 316176"/>
              <a:gd name="connsiteX69" fmla="*/ 303334 w 330369"/>
              <a:gd name="connsiteY69" fmla="*/ 249900 h 316176"/>
              <a:gd name="connsiteX70" fmla="*/ 324210 w 330369"/>
              <a:gd name="connsiteY70" fmla="*/ 249900 h 316176"/>
              <a:gd name="connsiteX71" fmla="*/ 324210 w 330369"/>
              <a:gd name="connsiteY71" fmla="*/ 249900 h 316176"/>
              <a:gd name="connsiteX72" fmla="*/ 330370 w 330369"/>
              <a:gd name="connsiteY72" fmla="*/ 243968 h 316176"/>
              <a:gd name="connsiteX73" fmla="*/ 330370 w 330369"/>
              <a:gd name="connsiteY73" fmla="*/ 224576 h 316176"/>
              <a:gd name="connsiteX74" fmla="*/ 286908 w 330369"/>
              <a:gd name="connsiteY74" fmla="*/ 250471 h 316176"/>
              <a:gd name="connsiteX75" fmla="*/ 286908 w 330369"/>
              <a:gd name="connsiteY75" fmla="*/ 307165 h 316176"/>
              <a:gd name="connsiteX76" fmla="*/ 96178 w 330369"/>
              <a:gd name="connsiteY76" fmla="*/ 307165 h 316176"/>
              <a:gd name="connsiteX77" fmla="*/ 96178 w 330369"/>
              <a:gd name="connsiteY77" fmla="*/ 250471 h 316176"/>
              <a:gd name="connsiteX78" fmla="*/ 286908 w 330369"/>
              <a:gd name="connsiteY78" fmla="*/ 250471 h 316176"/>
              <a:gd name="connsiteX79" fmla="*/ 320560 w 330369"/>
              <a:gd name="connsiteY79" fmla="*/ 229025 h 316176"/>
              <a:gd name="connsiteX80" fmla="*/ 320560 w 330369"/>
              <a:gd name="connsiteY80" fmla="*/ 241003 h 316176"/>
              <a:gd name="connsiteX81" fmla="*/ 62640 w 330369"/>
              <a:gd name="connsiteY81" fmla="*/ 241003 h 316176"/>
              <a:gd name="connsiteX82" fmla="*/ 62640 w 330369"/>
              <a:gd name="connsiteY82" fmla="*/ 229025 h 316176"/>
              <a:gd name="connsiteX83" fmla="*/ 320560 w 330369"/>
              <a:gd name="connsiteY83" fmla="*/ 229025 h 316176"/>
              <a:gd name="connsiteX84" fmla="*/ 239111 w 330369"/>
              <a:gd name="connsiteY84" fmla="*/ 166855 h 316176"/>
              <a:gd name="connsiteX85" fmla="*/ 239111 w 330369"/>
              <a:gd name="connsiteY85" fmla="*/ 187616 h 316176"/>
              <a:gd name="connsiteX86" fmla="*/ 142948 w 330369"/>
              <a:gd name="connsiteY86" fmla="*/ 187616 h 316176"/>
              <a:gd name="connsiteX87" fmla="*/ 142948 w 330369"/>
              <a:gd name="connsiteY87" fmla="*/ 116777 h 316176"/>
              <a:gd name="connsiteX88" fmla="*/ 156294 w 330369"/>
              <a:gd name="connsiteY88" fmla="*/ 106282 h 316176"/>
              <a:gd name="connsiteX89" fmla="*/ 154811 w 330369"/>
              <a:gd name="connsiteY89" fmla="*/ 91909 h 316176"/>
              <a:gd name="connsiteX90" fmla="*/ 147853 w 330369"/>
              <a:gd name="connsiteY90" fmla="*/ 85407 h 316176"/>
              <a:gd name="connsiteX91" fmla="*/ 144887 w 330369"/>
              <a:gd name="connsiteY91" fmla="*/ 82783 h 316176"/>
              <a:gd name="connsiteX92" fmla="*/ 151617 w 330369"/>
              <a:gd name="connsiteY92" fmla="*/ 79133 h 316176"/>
              <a:gd name="connsiteX93" fmla="*/ 229187 w 330369"/>
              <a:gd name="connsiteY93" fmla="*/ 79133 h 316176"/>
              <a:gd name="connsiteX94" fmla="*/ 239111 w 330369"/>
              <a:gd name="connsiteY94" fmla="*/ 89285 h 316176"/>
              <a:gd name="connsiteX95" fmla="*/ 239111 w 330369"/>
              <a:gd name="connsiteY95" fmla="*/ 166855 h 316176"/>
              <a:gd name="connsiteX96" fmla="*/ 158462 w 330369"/>
              <a:gd name="connsiteY96" fmla="*/ 70007 h 316176"/>
              <a:gd name="connsiteX97" fmla="*/ 135761 w 330369"/>
              <a:gd name="connsiteY97" fmla="*/ 79133 h 316176"/>
              <a:gd name="connsiteX98" fmla="*/ 112262 w 330369"/>
              <a:gd name="connsiteY98" fmla="*/ 68182 h 316176"/>
              <a:gd name="connsiteX99" fmla="*/ 110437 w 330369"/>
              <a:gd name="connsiteY99" fmla="*/ 67269 h 316176"/>
              <a:gd name="connsiteX100" fmla="*/ 105988 w 330369"/>
              <a:gd name="connsiteY100" fmla="*/ 65216 h 316176"/>
              <a:gd name="connsiteX101" fmla="*/ 99372 w 330369"/>
              <a:gd name="connsiteY101" fmla="*/ 67269 h 316176"/>
              <a:gd name="connsiteX102" fmla="*/ 102338 w 330369"/>
              <a:gd name="connsiteY102" fmla="*/ 73543 h 316176"/>
              <a:gd name="connsiteX103" fmla="*/ 111349 w 330369"/>
              <a:gd name="connsiteY103" fmla="*/ 77764 h 316176"/>
              <a:gd name="connsiteX104" fmla="*/ 135875 w 330369"/>
              <a:gd name="connsiteY104" fmla="*/ 89285 h 316176"/>
              <a:gd name="connsiteX105" fmla="*/ 146142 w 330369"/>
              <a:gd name="connsiteY105" fmla="*/ 95902 h 316176"/>
              <a:gd name="connsiteX106" fmla="*/ 147511 w 330369"/>
              <a:gd name="connsiteY106" fmla="*/ 96928 h 316176"/>
              <a:gd name="connsiteX107" fmla="*/ 147967 w 330369"/>
              <a:gd name="connsiteY107" fmla="*/ 102518 h 316176"/>
              <a:gd name="connsiteX108" fmla="*/ 132453 w 330369"/>
              <a:gd name="connsiteY108" fmla="*/ 106967 h 316176"/>
              <a:gd name="connsiteX109" fmla="*/ 113403 w 330369"/>
              <a:gd name="connsiteY109" fmla="*/ 98069 h 316176"/>
              <a:gd name="connsiteX110" fmla="*/ 87508 w 330369"/>
              <a:gd name="connsiteY110" fmla="*/ 92023 h 316176"/>
              <a:gd name="connsiteX111" fmla="*/ 86710 w 330369"/>
              <a:gd name="connsiteY111" fmla="*/ 92023 h 316176"/>
              <a:gd name="connsiteX112" fmla="*/ 58762 w 330369"/>
              <a:gd name="connsiteY112" fmla="*/ 85749 h 316176"/>
              <a:gd name="connsiteX113" fmla="*/ 44731 w 330369"/>
              <a:gd name="connsiteY113" fmla="*/ 79133 h 316176"/>
              <a:gd name="connsiteX114" fmla="*/ 39826 w 330369"/>
              <a:gd name="connsiteY114" fmla="*/ 76851 h 316176"/>
              <a:gd name="connsiteX115" fmla="*/ 60473 w 330369"/>
              <a:gd name="connsiteY115" fmla="*/ 32819 h 316176"/>
              <a:gd name="connsiteX116" fmla="*/ 61271 w 330369"/>
              <a:gd name="connsiteY116" fmla="*/ 33161 h 316176"/>
              <a:gd name="connsiteX117" fmla="*/ 63895 w 330369"/>
              <a:gd name="connsiteY117" fmla="*/ 34416 h 316176"/>
              <a:gd name="connsiteX118" fmla="*/ 97318 w 330369"/>
              <a:gd name="connsiteY118" fmla="*/ 42401 h 316176"/>
              <a:gd name="connsiteX119" fmla="*/ 127206 w 330369"/>
              <a:gd name="connsiteY119" fmla="*/ 44112 h 316176"/>
              <a:gd name="connsiteX120" fmla="*/ 130057 w 330369"/>
              <a:gd name="connsiteY120" fmla="*/ 44340 h 316176"/>
              <a:gd name="connsiteX121" fmla="*/ 150933 w 330369"/>
              <a:gd name="connsiteY121" fmla="*/ 56090 h 316176"/>
              <a:gd name="connsiteX122" fmla="*/ 157663 w 330369"/>
              <a:gd name="connsiteY122" fmla="*/ 66014 h 316176"/>
              <a:gd name="connsiteX123" fmla="*/ 160401 w 330369"/>
              <a:gd name="connsiteY123" fmla="*/ 70121 h 316176"/>
              <a:gd name="connsiteX124" fmla="*/ 158119 w 330369"/>
              <a:gd name="connsiteY124" fmla="*/ 70121 h 316176"/>
              <a:gd name="connsiteX125" fmla="*/ 133594 w 330369"/>
              <a:gd name="connsiteY125" fmla="*/ 187958 h 316176"/>
              <a:gd name="connsiteX126" fmla="*/ 125152 w 330369"/>
              <a:gd name="connsiteY126" fmla="*/ 187958 h 316176"/>
              <a:gd name="connsiteX127" fmla="*/ 125152 w 330369"/>
              <a:gd name="connsiteY127" fmla="*/ 187958 h 316176"/>
              <a:gd name="connsiteX128" fmla="*/ 120475 w 330369"/>
              <a:gd name="connsiteY128" fmla="*/ 189555 h 316176"/>
              <a:gd name="connsiteX129" fmla="*/ 119334 w 330369"/>
              <a:gd name="connsiteY129" fmla="*/ 192635 h 316176"/>
              <a:gd name="connsiteX130" fmla="*/ 125038 w 330369"/>
              <a:gd name="connsiteY130" fmla="*/ 196970 h 316176"/>
              <a:gd name="connsiteX131" fmla="*/ 253256 w 330369"/>
              <a:gd name="connsiteY131" fmla="*/ 196970 h 316176"/>
              <a:gd name="connsiteX132" fmla="*/ 255424 w 330369"/>
              <a:gd name="connsiteY132" fmla="*/ 196970 h 316176"/>
              <a:gd name="connsiteX133" fmla="*/ 258162 w 330369"/>
              <a:gd name="connsiteY133" fmla="*/ 196970 h 316176"/>
              <a:gd name="connsiteX134" fmla="*/ 261812 w 330369"/>
              <a:gd name="connsiteY134" fmla="*/ 195944 h 316176"/>
              <a:gd name="connsiteX135" fmla="*/ 263409 w 330369"/>
              <a:gd name="connsiteY135" fmla="*/ 192521 h 316176"/>
              <a:gd name="connsiteX136" fmla="*/ 262268 w 330369"/>
              <a:gd name="connsiteY136" fmla="*/ 189327 h 316176"/>
              <a:gd name="connsiteX137" fmla="*/ 258390 w 330369"/>
              <a:gd name="connsiteY137" fmla="*/ 187958 h 316176"/>
              <a:gd name="connsiteX138" fmla="*/ 258390 w 330369"/>
              <a:gd name="connsiteY138" fmla="*/ 187958 h 316176"/>
              <a:gd name="connsiteX139" fmla="*/ 251203 w 330369"/>
              <a:gd name="connsiteY139" fmla="*/ 187958 h 316176"/>
              <a:gd name="connsiteX140" fmla="*/ 248579 w 330369"/>
              <a:gd name="connsiteY140" fmla="*/ 187958 h 316176"/>
              <a:gd name="connsiteX141" fmla="*/ 248579 w 330369"/>
              <a:gd name="connsiteY141" fmla="*/ 165030 h 316176"/>
              <a:gd name="connsiteX142" fmla="*/ 261013 w 330369"/>
              <a:gd name="connsiteY142" fmla="*/ 165030 h 316176"/>
              <a:gd name="connsiteX143" fmla="*/ 283942 w 330369"/>
              <a:gd name="connsiteY143" fmla="*/ 165030 h 316176"/>
              <a:gd name="connsiteX144" fmla="*/ 286566 w 330369"/>
              <a:gd name="connsiteY144" fmla="*/ 166399 h 316176"/>
              <a:gd name="connsiteX145" fmla="*/ 315883 w 330369"/>
              <a:gd name="connsiteY145" fmla="*/ 216933 h 316176"/>
              <a:gd name="connsiteX146" fmla="*/ 317365 w 330369"/>
              <a:gd name="connsiteY146" fmla="*/ 219557 h 316176"/>
              <a:gd name="connsiteX147" fmla="*/ 317365 w 330369"/>
              <a:gd name="connsiteY147" fmla="*/ 219785 h 316176"/>
              <a:gd name="connsiteX148" fmla="*/ 65948 w 330369"/>
              <a:gd name="connsiteY148" fmla="*/ 219785 h 316176"/>
              <a:gd name="connsiteX149" fmla="*/ 67545 w 330369"/>
              <a:gd name="connsiteY149" fmla="*/ 216819 h 316176"/>
              <a:gd name="connsiteX150" fmla="*/ 71766 w 330369"/>
              <a:gd name="connsiteY150" fmla="*/ 209176 h 316176"/>
              <a:gd name="connsiteX151" fmla="*/ 80778 w 330369"/>
              <a:gd name="connsiteY151" fmla="*/ 193548 h 316176"/>
              <a:gd name="connsiteX152" fmla="*/ 95950 w 330369"/>
              <a:gd name="connsiteY152" fmla="*/ 167311 h 316176"/>
              <a:gd name="connsiteX153" fmla="*/ 100056 w 330369"/>
              <a:gd name="connsiteY153" fmla="*/ 164916 h 316176"/>
              <a:gd name="connsiteX154" fmla="*/ 100056 w 330369"/>
              <a:gd name="connsiteY154" fmla="*/ 164916 h 316176"/>
              <a:gd name="connsiteX155" fmla="*/ 131654 w 330369"/>
              <a:gd name="connsiteY155" fmla="*/ 164916 h 316176"/>
              <a:gd name="connsiteX156" fmla="*/ 133137 w 330369"/>
              <a:gd name="connsiteY156" fmla="*/ 165030 h 316176"/>
              <a:gd name="connsiteX157" fmla="*/ 133480 w 330369"/>
              <a:gd name="connsiteY157" fmla="*/ 165030 h 316176"/>
              <a:gd name="connsiteX158" fmla="*/ 133480 w 330369"/>
              <a:gd name="connsiteY158" fmla="*/ 187844 h 316176"/>
              <a:gd name="connsiteX159" fmla="*/ 24768 w 330369"/>
              <a:gd name="connsiteY159" fmla="*/ 86319 h 316176"/>
              <a:gd name="connsiteX160" fmla="*/ 21118 w 330369"/>
              <a:gd name="connsiteY160" fmla="*/ 85407 h 316176"/>
              <a:gd name="connsiteX161" fmla="*/ 11079 w 330369"/>
              <a:gd name="connsiteY161" fmla="*/ 80616 h 316176"/>
              <a:gd name="connsiteX162" fmla="*/ 9026 w 330369"/>
              <a:gd name="connsiteY162" fmla="*/ 78791 h 316176"/>
              <a:gd name="connsiteX163" fmla="*/ 9368 w 330369"/>
              <a:gd name="connsiteY163" fmla="*/ 76167 h 316176"/>
              <a:gd name="connsiteX164" fmla="*/ 23285 w 330369"/>
              <a:gd name="connsiteY164" fmla="*/ 46508 h 316176"/>
              <a:gd name="connsiteX165" fmla="*/ 39598 w 330369"/>
              <a:gd name="connsiteY165" fmla="*/ 11830 h 316176"/>
              <a:gd name="connsiteX166" fmla="*/ 41765 w 330369"/>
              <a:gd name="connsiteY166" fmla="*/ 9092 h 316176"/>
              <a:gd name="connsiteX167" fmla="*/ 42107 w 330369"/>
              <a:gd name="connsiteY167" fmla="*/ 9092 h 316176"/>
              <a:gd name="connsiteX168" fmla="*/ 42792 w 330369"/>
              <a:gd name="connsiteY168" fmla="*/ 9320 h 316176"/>
              <a:gd name="connsiteX169" fmla="*/ 42792 w 330369"/>
              <a:gd name="connsiteY169" fmla="*/ 9320 h 316176"/>
              <a:gd name="connsiteX170" fmla="*/ 46670 w 330369"/>
              <a:gd name="connsiteY170" fmla="*/ 11259 h 316176"/>
              <a:gd name="connsiteX171" fmla="*/ 56708 w 330369"/>
              <a:gd name="connsiteY171" fmla="*/ 16507 h 316176"/>
              <a:gd name="connsiteX172" fmla="*/ 56366 w 330369"/>
              <a:gd name="connsiteY172" fmla="*/ 20157 h 316176"/>
              <a:gd name="connsiteX173" fmla="*/ 56366 w 330369"/>
              <a:gd name="connsiteY173" fmla="*/ 20385 h 316176"/>
              <a:gd name="connsiteX174" fmla="*/ 43590 w 330369"/>
              <a:gd name="connsiteY174" fmla="*/ 47763 h 316176"/>
              <a:gd name="connsiteX175" fmla="*/ 38685 w 330369"/>
              <a:gd name="connsiteY175" fmla="*/ 58143 h 316176"/>
              <a:gd name="connsiteX176" fmla="*/ 32867 w 330369"/>
              <a:gd name="connsiteY176" fmla="*/ 70805 h 316176"/>
              <a:gd name="connsiteX177" fmla="*/ 27049 w 330369"/>
              <a:gd name="connsiteY177" fmla="*/ 83468 h 316176"/>
              <a:gd name="connsiteX178" fmla="*/ 24882 w 330369"/>
              <a:gd name="connsiteY178" fmla="*/ 86433 h 31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30369" h="316176">
                <a:moveTo>
                  <a:pt x="329685" y="224918"/>
                </a:moveTo>
                <a:cubicBezTo>
                  <a:pt x="329685" y="223663"/>
                  <a:pt x="329229" y="222295"/>
                  <a:pt x="328545" y="220926"/>
                </a:cubicBezTo>
                <a:cubicBezTo>
                  <a:pt x="323069" y="211572"/>
                  <a:pt x="317708" y="202104"/>
                  <a:pt x="312232" y="192749"/>
                </a:cubicBezTo>
                <a:cubicBezTo>
                  <a:pt x="305730" y="181570"/>
                  <a:pt x="299342" y="170391"/>
                  <a:pt x="292840" y="159212"/>
                </a:cubicBezTo>
                <a:cubicBezTo>
                  <a:pt x="291471" y="156817"/>
                  <a:pt x="289760" y="155790"/>
                  <a:pt x="287136" y="155790"/>
                </a:cubicBezTo>
                <a:lnTo>
                  <a:pt x="287136" y="155790"/>
                </a:lnTo>
                <a:cubicBezTo>
                  <a:pt x="282459" y="155790"/>
                  <a:pt x="277896" y="155790"/>
                  <a:pt x="273219" y="155790"/>
                </a:cubicBezTo>
                <a:cubicBezTo>
                  <a:pt x="271166" y="155790"/>
                  <a:pt x="269113" y="155790"/>
                  <a:pt x="267173" y="155790"/>
                </a:cubicBezTo>
                <a:cubicBezTo>
                  <a:pt x="262953" y="155790"/>
                  <a:pt x="258846" y="155790"/>
                  <a:pt x="254511" y="155790"/>
                </a:cubicBezTo>
                <a:lnTo>
                  <a:pt x="248579" y="155790"/>
                </a:lnTo>
                <a:lnTo>
                  <a:pt x="248579" y="125218"/>
                </a:lnTo>
                <a:cubicBezTo>
                  <a:pt x="248579" y="112784"/>
                  <a:pt x="248579" y="100350"/>
                  <a:pt x="248579" y="87916"/>
                </a:cubicBezTo>
                <a:cubicBezTo>
                  <a:pt x="248579" y="77536"/>
                  <a:pt x="241165" y="69893"/>
                  <a:pt x="231126" y="69893"/>
                </a:cubicBezTo>
                <a:lnTo>
                  <a:pt x="231126" y="69893"/>
                </a:lnTo>
                <a:cubicBezTo>
                  <a:pt x="212304" y="69893"/>
                  <a:pt x="193368" y="69893"/>
                  <a:pt x="174546" y="69893"/>
                </a:cubicBezTo>
                <a:lnTo>
                  <a:pt x="174546" y="69893"/>
                </a:lnTo>
                <a:cubicBezTo>
                  <a:pt x="172721" y="69893"/>
                  <a:pt x="171694" y="69322"/>
                  <a:pt x="170782" y="67954"/>
                </a:cubicBezTo>
                <a:cubicBezTo>
                  <a:pt x="167588" y="63048"/>
                  <a:pt x="164279" y="58143"/>
                  <a:pt x="161199" y="53466"/>
                </a:cubicBezTo>
                <a:lnTo>
                  <a:pt x="160287" y="52097"/>
                </a:lnTo>
                <a:cubicBezTo>
                  <a:pt x="153328" y="41717"/>
                  <a:pt x="143974" y="36013"/>
                  <a:pt x="132567" y="35101"/>
                </a:cubicBezTo>
                <a:cubicBezTo>
                  <a:pt x="115570" y="33732"/>
                  <a:pt x="101881" y="32933"/>
                  <a:pt x="89219" y="32591"/>
                </a:cubicBezTo>
                <a:cubicBezTo>
                  <a:pt x="82261" y="32363"/>
                  <a:pt x="76557" y="29625"/>
                  <a:pt x="70397" y="26773"/>
                </a:cubicBezTo>
                <a:cubicBezTo>
                  <a:pt x="68572" y="25975"/>
                  <a:pt x="66747" y="25062"/>
                  <a:pt x="64922" y="24264"/>
                </a:cubicBezTo>
                <a:lnTo>
                  <a:pt x="64922" y="23921"/>
                </a:lnTo>
                <a:cubicBezTo>
                  <a:pt x="64922" y="23921"/>
                  <a:pt x="65264" y="23237"/>
                  <a:pt x="65378" y="23009"/>
                </a:cubicBezTo>
                <a:cubicBezTo>
                  <a:pt x="68458" y="15480"/>
                  <a:pt x="66177" y="9776"/>
                  <a:pt x="58876" y="6468"/>
                </a:cubicBezTo>
                <a:cubicBezTo>
                  <a:pt x="56252" y="5213"/>
                  <a:pt x="53514" y="3959"/>
                  <a:pt x="50891" y="2704"/>
                </a:cubicBezTo>
                <a:lnTo>
                  <a:pt x="48153" y="1449"/>
                </a:lnTo>
                <a:cubicBezTo>
                  <a:pt x="41309" y="-1745"/>
                  <a:pt x="34920" y="422"/>
                  <a:pt x="31840" y="7153"/>
                </a:cubicBezTo>
                <a:cubicBezTo>
                  <a:pt x="21460" y="29169"/>
                  <a:pt x="11193" y="51071"/>
                  <a:pt x="1383" y="72288"/>
                </a:cubicBezTo>
                <a:cubicBezTo>
                  <a:pt x="-1697" y="78791"/>
                  <a:pt x="470" y="84950"/>
                  <a:pt x="6859" y="88259"/>
                </a:cubicBezTo>
                <a:cubicBezTo>
                  <a:pt x="9938" y="89856"/>
                  <a:pt x="13247" y="91338"/>
                  <a:pt x="16441" y="92821"/>
                </a:cubicBezTo>
                <a:lnTo>
                  <a:pt x="19064" y="94076"/>
                </a:lnTo>
                <a:cubicBezTo>
                  <a:pt x="25567" y="97042"/>
                  <a:pt x="31726" y="94875"/>
                  <a:pt x="35034" y="88487"/>
                </a:cubicBezTo>
                <a:cubicBezTo>
                  <a:pt x="35491" y="87574"/>
                  <a:pt x="35947" y="86662"/>
                  <a:pt x="36517" y="85635"/>
                </a:cubicBezTo>
                <a:lnTo>
                  <a:pt x="36746" y="85065"/>
                </a:lnTo>
                <a:lnTo>
                  <a:pt x="41309" y="87232"/>
                </a:lnTo>
                <a:cubicBezTo>
                  <a:pt x="46556" y="89627"/>
                  <a:pt x="51575" y="92023"/>
                  <a:pt x="56708" y="94419"/>
                </a:cubicBezTo>
                <a:cubicBezTo>
                  <a:pt x="66062" y="98753"/>
                  <a:pt x="75188" y="100921"/>
                  <a:pt x="84314" y="100921"/>
                </a:cubicBezTo>
                <a:cubicBezTo>
                  <a:pt x="84770" y="100921"/>
                  <a:pt x="85113" y="100921"/>
                  <a:pt x="85569" y="100921"/>
                </a:cubicBezTo>
                <a:cubicBezTo>
                  <a:pt x="94353" y="100693"/>
                  <a:pt x="103022" y="102746"/>
                  <a:pt x="112262" y="107195"/>
                </a:cubicBezTo>
                <a:cubicBezTo>
                  <a:pt x="117281" y="109590"/>
                  <a:pt x="122415" y="111986"/>
                  <a:pt x="127434" y="114267"/>
                </a:cubicBezTo>
                <a:cubicBezTo>
                  <a:pt x="129601" y="115294"/>
                  <a:pt x="131769" y="116321"/>
                  <a:pt x="134050" y="117347"/>
                </a:cubicBezTo>
                <a:lnTo>
                  <a:pt x="134050" y="155790"/>
                </a:lnTo>
                <a:lnTo>
                  <a:pt x="133366" y="155790"/>
                </a:lnTo>
                <a:cubicBezTo>
                  <a:pt x="132681" y="155790"/>
                  <a:pt x="131997" y="155790"/>
                  <a:pt x="131426" y="155790"/>
                </a:cubicBezTo>
                <a:lnTo>
                  <a:pt x="121844" y="155790"/>
                </a:lnTo>
                <a:cubicBezTo>
                  <a:pt x="113745" y="155790"/>
                  <a:pt x="105418" y="155904"/>
                  <a:pt x="97204" y="155904"/>
                </a:cubicBezTo>
                <a:lnTo>
                  <a:pt x="97204" y="155904"/>
                </a:lnTo>
                <a:cubicBezTo>
                  <a:pt x="94124" y="155904"/>
                  <a:pt x="91957" y="157159"/>
                  <a:pt x="90360" y="159897"/>
                </a:cubicBezTo>
                <a:cubicBezTo>
                  <a:pt x="83516" y="171874"/>
                  <a:pt x="76557" y="183852"/>
                  <a:pt x="69713" y="195830"/>
                </a:cubicBezTo>
                <a:cubicBezTo>
                  <a:pt x="64922" y="204157"/>
                  <a:pt x="60131" y="212484"/>
                  <a:pt x="55340" y="220812"/>
                </a:cubicBezTo>
                <a:cubicBezTo>
                  <a:pt x="54427" y="222295"/>
                  <a:pt x="53971" y="223663"/>
                  <a:pt x="53971" y="224690"/>
                </a:cubicBezTo>
                <a:cubicBezTo>
                  <a:pt x="53971" y="229937"/>
                  <a:pt x="53971" y="235299"/>
                  <a:pt x="53971" y="240432"/>
                </a:cubicBezTo>
                <a:lnTo>
                  <a:pt x="53971" y="245451"/>
                </a:lnTo>
                <a:cubicBezTo>
                  <a:pt x="53971" y="248189"/>
                  <a:pt x="55568" y="249786"/>
                  <a:pt x="58419" y="250014"/>
                </a:cubicBezTo>
                <a:cubicBezTo>
                  <a:pt x="59903" y="250128"/>
                  <a:pt x="61386" y="250014"/>
                  <a:pt x="62868" y="250014"/>
                </a:cubicBezTo>
                <a:lnTo>
                  <a:pt x="64123" y="250014"/>
                </a:lnTo>
                <a:cubicBezTo>
                  <a:pt x="69371" y="250014"/>
                  <a:pt x="74618" y="250014"/>
                  <a:pt x="79979" y="250014"/>
                </a:cubicBezTo>
                <a:lnTo>
                  <a:pt x="87736" y="250014"/>
                </a:lnTo>
                <a:lnTo>
                  <a:pt x="87736" y="253779"/>
                </a:lnTo>
                <a:cubicBezTo>
                  <a:pt x="87736" y="272258"/>
                  <a:pt x="87736" y="290852"/>
                  <a:pt x="87736" y="309332"/>
                </a:cubicBezTo>
                <a:cubicBezTo>
                  <a:pt x="87736" y="315036"/>
                  <a:pt x="88877" y="316177"/>
                  <a:pt x="94581" y="316177"/>
                </a:cubicBezTo>
                <a:lnTo>
                  <a:pt x="124696" y="316177"/>
                </a:lnTo>
                <a:cubicBezTo>
                  <a:pt x="139754" y="316177"/>
                  <a:pt x="154811" y="316177"/>
                  <a:pt x="169869" y="316177"/>
                </a:cubicBezTo>
                <a:lnTo>
                  <a:pt x="289532" y="316177"/>
                </a:lnTo>
                <a:cubicBezTo>
                  <a:pt x="295463" y="316177"/>
                  <a:pt x="296718" y="315036"/>
                  <a:pt x="296718" y="309218"/>
                </a:cubicBezTo>
                <a:cubicBezTo>
                  <a:pt x="296718" y="290510"/>
                  <a:pt x="296718" y="271688"/>
                  <a:pt x="296718" y="252980"/>
                </a:cubicBezTo>
                <a:lnTo>
                  <a:pt x="296718" y="249900"/>
                </a:lnTo>
                <a:lnTo>
                  <a:pt x="303334" y="249900"/>
                </a:lnTo>
                <a:cubicBezTo>
                  <a:pt x="310407" y="249900"/>
                  <a:pt x="317251" y="249900"/>
                  <a:pt x="324210" y="249900"/>
                </a:cubicBezTo>
                <a:lnTo>
                  <a:pt x="324210" y="249900"/>
                </a:lnTo>
                <a:cubicBezTo>
                  <a:pt x="328773" y="249900"/>
                  <a:pt x="330370" y="248417"/>
                  <a:pt x="330370" y="243968"/>
                </a:cubicBezTo>
                <a:cubicBezTo>
                  <a:pt x="330370" y="237694"/>
                  <a:pt x="330370" y="231078"/>
                  <a:pt x="330370" y="224576"/>
                </a:cubicBezTo>
                <a:close/>
                <a:moveTo>
                  <a:pt x="286908" y="250471"/>
                </a:moveTo>
                <a:lnTo>
                  <a:pt x="286908" y="307165"/>
                </a:lnTo>
                <a:lnTo>
                  <a:pt x="96178" y="307165"/>
                </a:lnTo>
                <a:lnTo>
                  <a:pt x="96178" y="250471"/>
                </a:lnTo>
                <a:lnTo>
                  <a:pt x="286908" y="250471"/>
                </a:lnTo>
                <a:close/>
                <a:moveTo>
                  <a:pt x="320560" y="229025"/>
                </a:moveTo>
                <a:lnTo>
                  <a:pt x="320560" y="241003"/>
                </a:lnTo>
                <a:lnTo>
                  <a:pt x="62640" y="241003"/>
                </a:lnTo>
                <a:lnTo>
                  <a:pt x="62640" y="229025"/>
                </a:lnTo>
                <a:lnTo>
                  <a:pt x="320560" y="229025"/>
                </a:lnTo>
                <a:close/>
                <a:moveTo>
                  <a:pt x="239111" y="166855"/>
                </a:moveTo>
                <a:lnTo>
                  <a:pt x="239111" y="187616"/>
                </a:lnTo>
                <a:lnTo>
                  <a:pt x="142948" y="187616"/>
                </a:lnTo>
                <a:lnTo>
                  <a:pt x="142948" y="116777"/>
                </a:lnTo>
                <a:cubicBezTo>
                  <a:pt x="148880" y="115066"/>
                  <a:pt x="153328" y="111529"/>
                  <a:pt x="156294" y="106282"/>
                </a:cubicBezTo>
                <a:cubicBezTo>
                  <a:pt x="159260" y="101149"/>
                  <a:pt x="158690" y="95902"/>
                  <a:pt x="154811" y="91909"/>
                </a:cubicBezTo>
                <a:cubicBezTo>
                  <a:pt x="152644" y="89627"/>
                  <a:pt x="150248" y="87574"/>
                  <a:pt x="147853" y="85407"/>
                </a:cubicBezTo>
                <a:cubicBezTo>
                  <a:pt x="146826" y="84494"/>
                  <a:pt x="145914" y="83696"/>
                  <a:pt x="144887" y="82783"/>
                </a:cubicBezTo>
                <a:cubicBezTo>
                  <a:pt x="146484" y="80502"/>
                  <a:pt x="148880" y="79247"/>
                  <a:pt x="151617" y="79133"/>
                </a:cubicBezTo>
                <a:cubicBezTo>
                  <a:pt x="180592" y="79133"/>
                  <a:pt x="206030" y="79133"/>
                  <a:pt x="229187" y="79133"/>
                </a:cubicBezTo>
                <a:cubicBezTo>
                  <a:pt x="235575" y="79133"/>
                  <a:pt x="239111" y="82783"/>
                  <a:pt x="239111" y="89285"/>
                </a:cubicBezTo>
                <a:cubicBezTo>
                  <a:pt x="239111" y="115066"/>
                  <a:pt x="239111" y="140960"/>
                  <a:pt x="239111" y="166855"/>
                </a:cubicBezTo>
                <a:close/>
                <a:moveTo>
                  <a:pt x="158462" y="70007"/>
                </a:moveTo>
                <a:cubicBezTo>
                  <a:pt x="149906" y="70007"/>
                  <a:pt x="140894" y="69779"/>
                  <a:pt x="135761" y="79133"/>
                </a:cubicBezTo>
                <a:lnTo>
                  <a:pt x="112262" y="68182"/>
                </a:lnTo>
                <a:cubicBezTo>
                  <a:pt x="111692" y="67839"/>
                  <a:pt x="111007" y="67611"/>
                  <a:pt x="110437" y="67269"/>
                </a:cubicBezTo>
                <a:cubicBezTo>
                  <a:pt x="108954" y="66585"/>
                  <a:pt x="107471" y="65900"/>
                  <a:pt x="105988" y="65216"/>
                </a:cubicBezTo>
                <a:cubicBezTo>
                  <a:pt x="102908" y="63961"/>
                  <a:pt x="100513" y="64759"/>
                  <a:pt x="99372" y="67269"/>
                </a:cubicBezTo>
                <a:cubicBezTo>
                  <a:pt x="98231" y="69893"/>
                  <a:pt x="99258" y="72174"/>
                  <a:pt x="102338" y="73543"/>
                </a:cubicBezTo>
                <a:cubicBezTo>
                  <a:pt x="105304" y="74912"/>
                  <a:pt x="108384" y="76281"/>
                  <a:pt x="111349" y="77764"/>
                </a:cubicBezTo>
                <a:cubicBezTo>
                  <a:pt x="119449" y="81528"/>
                  <a:pt x="127776" y="85293"/>
                  <a:pt x="135875" y="89285"/>
                </a:cubicBezTo>
                <a:cubicBezTo>
                  <a:pt x="139525" y="91110"/>
                  <a:pt x="142834" y="93506"/>
                  <a:pt x="146142" y="95902"/>
                </a:cubicBezTo>
                <a:lnTo>
                  <a:pt x="147511" y="96928"/>
                </a:lnTo>
                <a:cubicBezTo>
                  <a:pt x="149336" y="98297"/>
                  <a:pt x="149564" y="100122"/>
                  <a:pt x="147967" y="102518"/>
                </a:cubicBezTo>
                <a:cubicBezTo>
                  <a:pt x="144773" y="107537"/>
                  <a:pt x="138043" y="109476"/>
                  <a:pt x="132453" y="106967"/>
                </a:cubicBezTo>
                <a:cubicBezTo>
                  <a:pt x="127206" y="104571"/>
                  <a:pt x="120361" y="101377"/>
                  <a:pt x="113403" y="98069"/>
                </a:cubicBezTo>
                <a:cubicBezTo>
                  <a:pt x="105190" y="94076"/>
                  <a:pt x="96520" y="92023"/>
                  <a:pt x="87508" y="92023"/>
                </a:cubicBezTo>
                <a:cubicBezTo>
                  <a:pt x="87280" y="92023"/>
                  <a:pt x="86938" y="92023"/>
                  <a:pt x="86710" y="92023"/>
                </a:cubicBezTo>
                <a:cubicBezTo>
                  <a:pt x="76785" y="92023"/>
                  <a:pt x="67659" y="89970"/>
                  <a:pt x="58762" y="85749"/>
                </a:cubicBezTo>
                <a:cubicBezTo>
                  <a:pt x="54199" y="83582"/>
                  <a:pt x="49522" y="81414"/>
                  <a:pt x="44731" y="79133"/>
                </a:cubicBezTo>
                <a:lnTo>
                  <a:pt x="39826" y="76851"/>
                </a:lnTo>
                <a:lnTo>
                  <a:pt x="60473" y="32819"/>
                </a:lnTo>
                <a:cubicBezTo>
                  <a:pt x="60473" y="32819"/>
                  <a:pt x="61043" y="33047"/>
                  <a:pt x="61271" y="33161"/>
                </a:cubicBezTo>
                <a:cubicBezTo>
                  <a:pt x="62184" y="33504"/>
                  <a:pt x="63097" y="33960"/>
                  <a:pt x="63895" y="34416"/>
                </a:cubicBezTo>
                <a:cubicBezTo>
                  <a:pt x="75074" y="40918"/>
                  <a:pt x="87052" y="42173"/>
                  <a:pt x="97318" y="42401"/>
                </a:cubicBezTo>
                <a:cubicBezTo>
                  <a:pt x="107243" y="42629"/>
                  <a:pt x="117395" y="43428"/>
                  <a:pt x="127206" y="44112"/>
                </a:cubicBezTo>
                <a:lnTo>
                  <a:pt x="130057" y="44340"/>
                </a:lnTo>
                <a:cubicBezTo>
                  <a:pt x="138841" y="44911"/>
                  <a:pt x="145800" y="48903"/>
                  <a:pt x="150933" y="56090"/>
                </a:cubicBezTo>
                <a:cubicBezTo>
                  <a:pt x="153214" y="59284"/>
                  <a:pt x="155382" y="62592"/>
                  <a:pt x="157663" y="66014"/>
                </a:cubicBezTo>
                <a:cubicBezTo>
                  <a:pt x="158576" y="67383"/>
                  <a:pt x="159488" y="68752"/>
                  <a:pt x="160401" y="70121"/>
                </a:cubicBezTo>
                <a:lnTo>
                  <a:pt x="158119" y="70121"/>
                </a:lnTo>
                <a:close/>
                <a:moveTo>
                  <a:pt x="133594" y="187958"/>
                </a:moveTo>
                <a:cubicBezTo>
                  <a:pt x="130856" y="187958"/>
                  <a:pt x="128004" y="187958"/>
                  <a:pt x="125152" y="187958"/>
                </a:cubicBezTo>
                <a:lnTo>
                  <a:pt x="125152" y="187958"/>
                </a:lnTo>
                <a:cubicBezTo>
                  <a:pt x="123099" y="187958"/>
                  <a:pt x="121502" y="188529"/>
                  <a:pt x="120475" y="189555"/>
                </a:cubicBezTo>
                <a:cubicBezTo>
                  <a:pt x="119677" y="190354"/>
                  <a:pt x="119334" y="191381"/>
                  <a:pt x="119334" y="192635"/>
                </a:cubicBezTo>
                <a:cubicBezTo>
                  <a:pt x="119334" y="195373"/>
                  <a:pt x="121502" y="196970"/>
                  <a:pt x="125038" y="196970"/>
                </a:cubicBezTo>
                <a:lnTo>
                  <a:pt x="253256" y="196970"/>
                </a:lnTo>
                <a:cubicBezTo>
                  <a:pt x="253941" y="196970"/>
                  <a:pt x="254739" y="196970"/>
                  <a:pt x="255424" y="196970"/>
                </a:cubicBezTo>
                <a:cubicBezTo>
                  <a:pt x="256336" y="196970"/>
                  <a:pt x="257249" y="196970"/>
                  <a:pt x="258162" y="196970"/>
                </a:cubicBezTo>
                <a:cubicBezTo>
                  <a:pt x="259644" y="196970"/>
                  <a:pt x="261013" y="196628"/>
                  <a:pt x="261812" y="195944"/>
                </a:cubicBezTo>
                <a:cubicBezTo>
                  <a:pt x="262839" y="195145"/>
                  <a:pt x="263409" y="194004"/>
                  <a:pt x="263409" y="192521"/>
                </a:cubicBezTo>
                <a:cubicBezTo>
                  <a:pt x="263409" y="191152"/>
                  <a:pt x="263067" y="190126"/>
                  <a:pt x="262268" y="189327"/>
                </a:cubicBezTo>
                <a:cubicBezTo>
                  <a:pt x="261356" y="188415"/>
                  <a:pt x="259987" y="187958"/>
                  <a:pt x="258390" y="187958"/>
                </a:cubicBezTo>
                <a:lnTo>
                  <a:pt x="258390" y="187958"/>
                </a:lnTo>
                <a:cubicBezTo>
                  <a:pt x="255994" y="187958"/>
                  <a:pt x="253599" y="187958"/>
                  <a:pt x="251203" y="187958"/>
                </a:cubicBezTo>
                <a:lnTo>
                  <a:pt x="248579" y="187958"/>
                </a:lnTo>
                <a:lnTo>
                  <a:pt x="248579" y="165030"/>
                </a:lnTo>
                <a:lnTo>
                  <a:pt x="261013" y="165030"/>
                </a:lnTo>
                <a:cubicBezTo>
                  <a:pt x="268542" y="165030"/>
                  <a:pt x="276299" y="164916"/>
                  <a:pt x="283942" y="165030"/>
                </a:cubicBezTo>
                <a:cubicBezTo>
                  <a:pt x="284855" y="165030"/>
                  <a:pt x="286110" y="165714"/>
                  <a:pt x="286566" y="166399"/>
                </a:cubicBezTo>
                <a:cubicBezTo>
                  <a:pt x="296376" y="183167"/>
                  <a:pt x="306301" y="200278"/>
                  <a:pt x="315883" y="216933"/>
                </a:cubicBezTo>
                <a:lnTo>
                  <a:pt x="317365" y="219557"/>
                </a:lnTo>
                <a:lnTo>
                  <a:pt x="317365" y="219785"/>
                </a:lnTo>
                <a:lnTo>
                  <a:pt x="65948" y="219785"/>
                </a:lnTo>
                <a:cubicBezTo>
                  <a:pt x="66519" y="218758"/>
                  <a:pt x="67089" y="217732"/>
                  <a:pt x="67545" y="216819"/>
                </a:cubicBezTo>
                <a:cubicBezTo>
                  <a:pt x="69028" y="214195"/>
                  <a:pt x="70397" y="211686"/>
                  <a:pt x="71766" y="209176"/>
                </a:cubicBezTo>
                <a:cubicBezTo>
                  <a:pt x="74732" y="203929"/>
                  <a:pt x="77812" y="198795"/>
                  <a:pt x="80778" y="193548"/>
                </a:cubicBezTo>
                <a:cubicBezTo>
                  <a:pt x="85797" y="184993"/>
                  <a:pt x="90930" y="176095"/>
                  <a:pt x="95950" y="167311"/>
                </a:cubicBezTo>
                <a:cubicBezTo>
                  <a:pt x="96976" y="165486"/>
                  <a:pt x="98117" y="164916"/>
                  <a:pt x="100056" y="164916"/>
                </a:cubicBezTo>
                <a:lnTo>
                  <a:pt x="100056" y="164916"/>
                </a:lnTo>
                <a:cubicBezTo>
                  <a:pt x="110551" y="164916"/>
                  <a:pt x="121046" y="164916"/>
                  <a:pt x="131654" y="164916"/>
                </a:cubicBezTo>
                <a:cubicBezTo>
                  <a:pt x="132111" y="164916"/>
                  <a:pt x="132567" y="164916"/>
                  <a:pt x="133137" y="165030"/>
                </a:cubicBezTo>
                <a:lnTo>
                  <a:pt x="133480" y="165030"/>
                </a:lnTo>
                <a:lnTo>
                  <a:pt x="133480" y="187844"/>
                </a:lnTo>
                <a:close/>
                <a:moveTo>
                  <a:pt x="24768" y="86319"/>
                </a:moveTo>
                <a:cubicBezTo>
                  <a:pt x="23970" y="86662"/>
                  <a:pt x="22829" y="86205"/>
                  <a:pt x="21118" y="85407"/>
                </a:cubicBezTo>
                <a:cubicBezTo>
                  <a:pt x="17809" y="83810"/>
                  <a:pt x="14387" y="82213"/>
                  <a:pt x="11079" y="80616"/>
                </a:cubicBezTo>
                <a:cubicBezTo>
                  <a:pt x="9938" y="80045"/>
                  <a:pt x="9254" y="79475"/>
                  <a:pt x="9026" y="78791"/>
                </a:cubicBezTo>
                <a:cubicBezTo>
                  <a:pt x="8798" y="78106"/>
                  <a:pt x="8912" y="77194"/>
                  <a:pt x="9368" y="76167"/>
                </a:cubicBezTo>
                <a:cubicBezTo>
                  <a:pt x="14045" y="66242"/>
                  <a:pt x="18608" y="56432"/>
                  <a:pt x="23285" y="46508"/>
                </a:cubicBezTo>
                <a:cubicBezTo>
                  <a:pt x="28646" y="34987"/>
                  <a:pt x="34122" y="23465"/>
                  <a:pt x="39598" y="11830"/>
                </a:cubicBezTo>
                <a:cubicBezTo>
                  <a:pt x="40054" y="11031"/>
                  <a:pt x="40738" y="9434"/>
                  <a:pt x="41765" y="9092"/>
                </a:cubicBezTo>
                <a:cubicBezTo>
                  <a:pt x="41879" y="9092"/>
                  <a:pt x="41993" y="9092"/>
                  <a:pt x="42107" y="9092"/>
                </a:cubicBezTo>
                <a:cubicBezTo>
                  <a:pt x="42335" y="9092"/>
                  <a:pt x="42563" y="9092"/>
                  <a:pt x="42792" y="9320"/>
                </a:cubicBezTo>
                <a:lnTo>
                  <a:pt x="42792" y="9320"/>
                </a:lnTo>
                <a:cubicBezTo>
                  <a:pt x="44160" y="10004"/>
                  <a:pt x="45415" y="10689"/>
                  <a:pt x="46670" y="11259"/>
                </a:cubicBezTo>
                <a:cubicBezTo>
                  <a:pt x="50206" y="12970"/>
                  <a:pt x="53286" y="14453"/>
                  <a:pt x="56708" y="16507"/>
                </a:cubicBezTo>
                <a:cubicBezTo>
                  <a:pt x="57735" y="17077"/>
                  <a:pt x="57165" y="18674"/>
                  <a:pt x="56366" y="20157"/>
                </a:cubicBezTo>
                <a:lnTo>
                  <a:pt x="56366" y="20385"/>
                </a:lnTo>
                <a:cubicBezTo>
                  <a:pt x="52145" y="29511"/>
                  <a:pt x="47811" y="38751"/>
                  <a:pt x="43590" y="47763"/>
                </a:cubicBezTo>
                <a:cubicBezTo>
                  <a:pt x="41993" y="51185"/>
                  <a:pt x="40396" y="54721"/>
                  <a:pt x="38685" y="58143"/>
                </a:cubicBezTo>
                <a:cubicBezTo>
                  <a:pt x="36746" y="62364"/>
                  <a:pt x="34806" y="66585"/>
                  <a:pt x="32867" y="70805"/>
                </a:cubicBezTo>
                <a:cubicBezTo>
                  <a:pt x="30928" y="75026"/>
                  <a:pt x="28989" y="79247"/>
                  <a:pt x="27049" y="83468"/>
                </a:cubicBezTo>
                <a:cubicBezTo>
                  <a:pt x="26137" y="85407"/>
                  <a:pt x="25567" y="86205"/>
                  <a:pt x="24882" y="86433"/>
                </a:cubicBezTo>
                <a:close/>
              </a:path>
            </a:pathLst>
          </a:custGeom>
          <a:solidFill>
            <a:schemeClr val="accent5"/>
          </a:solidFill>
          <a:ln w="11403" cap="flat">
            <a:noFill/>
            <a:prstDash val="solid"/>
            <a:miter/>
          </a:ln>
        </p:spPr>
        <p:txBody>
          <a:bodyPr rtlCol="0" anchor="ctr"/>
          <a:lstStyle/>
          <a:p>
            <a:pPr defTabSz="466522"/>
            <a:endParaRPr lang="en-AU" sz="1000">
              <a:solidFill>
                <a:prstClr val="black"/>
              </a:solidFill>
            </a:endParaRPr>
          </a:p>
        </p:txBody>
      </p:sp>
      <p:cxnSp>
        <p:nvCxnSpPr>
          <p:cNvPr id="57" name="Straight Connector 56">
            <a:extLst>
              <a:ext uri="{FF2B5EF4-FFF2-40B4-BE49-F238E27FC236}">
                <a16:creationId xmlns:a16="http://schemas.microsoft.com/office/drawing/2014/main" id="{D83A75D0-FE5D-8618-8ADC-79D9E84C130B}"/>
              </a:ext>
              <a:ext uri="{C183D7F6-B498-43B3-948B-1728B52AA6E4}">
                <adec:decorative xmlns:adec="http://schemas.microsoft.com/office/drawing/2017/decorative" val="1"/>
              </a:ext>
            </a:extLst>
          </p:cNvPr>
          <p:cNvCxnSpPr>
            <a:cxnSpLocks/>
            <a:stCxn id="54" idx="6"/>
            <a:endCxn id="130" idx="2"/>
          </p:cNvCxnSpPr>
          <p:nvPr/>
        </p:nvCxnSpPr>
        <p:spPr>
          <a:xfrm>
            <a:off x="3999578" y="2372613"/>
            <a:ext cx="1505064"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67F8E65-EC13-ED2D-D384-1D2F202C39A0}"/>
              </a:ext>
              <a:ext uri="{C183D7F6-B498-43B3-948B-1728B52AA6E4}">
                <adec:decorative xmlns:adec="http://schemas.microsoft.com/office/drawing/2017/decorative" val="1"/>
              </a:ext>
            </a:extLst>
          </p:cNvPr>
          <p:cNvCxnSpPr>
            <a:cxnSpLocks/>
          </p:cNvCxnSpPr>
          <p:nvPr/>
        </p:nvCxnSpPr>
        <p:spPr>
          <a:xfrm>
            <a:off x="5721940" y="2372613"/>
            <a:ext cx="1016192"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DD125D7-2DE4-AB25-30A9-B23A8560131A}"/>
              </a:ext>
              <a:ext uri="{C183D7F6-B498-43B3-948B-1728B52AA6E4}">
                <adec:decorative xmlns:adec="http://schemas.microsoft.com/office/drawing/2017/decorative" val="1"/>
              </a:ext>
            </a:extLst>
          </p:cNvPr>
          <p:cNvCxnSpPr>
            <a:cxnSpLocks/>
          </p:cNvCxnSpPr>
          <p:nvPr/>
        </p:nvCxnSpPr>
        <p:spPr>
          <a:xfrm>
            <a:off x="6955430" y="2372613"/>
            <a:ext cx="1023177"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BD5B3BA-2C9F-358E-482D-DB3F455921AC}"/>
              </a:ext>
              <a:ext uri="{C183D7F6-B498-43B3-948B-1728B52AA6E4}">
                <adec:decorative xmlns:adec="http://schemas.microsoft.com/office/drawing/2017/decorative" val="1"/>
              </a:ext>
            </a:extLst>
          </p:cNvPr>
          <p:cNvCxnSpPr>
            <a:cxnSpLocks/>
            <a:endCxn id="49" idx="2"/>
          </p:cNvCxnSpPr>
          <p:nvPr/>
        </p:nvCxnSpPr>
        <p:spPr>
          <a:xfrm>
            <a:off x="8195905" y="2372613"/>
            <a:ext cx="1016194" cy="0"/>
          </a:xfrm>
          <a:prstGeom prst="line">
            <a:avLst/>
          </a:prstGeom>
          <a:ln w="3810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48B9B3B6-643E-9FC1-9C0D-A3C5D95AF245}"/>
              </a:ext>
              <a:ext uri="{C183D7F6-B498-43B3-948B-1728B52AA6E4}">
                <adec:decorative xmlns:adec="http://schemas.microsoft.com/office/drawing/2017/decorative" val="1"/>
              </a:ext>
            </a:extLst>
          </p:cNvPr>
          <p:cNvSpPr/>
          <p:nvPr/>
        </p:nvSpPr>
        <p:spPr>
          <a:xfrm>
            <a:off x="2422207" y="2263964"/>
            <a:ext cx="216000"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accent6"/>
                </a:solidFill>
              </a:rPr>
              <a:t>1</a:t>
            </a:r>
          </a:p>
        </p:txBody>
      </p:sp>
      <p:cxnSp>
        <p:nvCxnSpPr>
          <p:cNvPr id="63" name="Straight Connector 62">
            <a:extLst>
              <a:ext uri="{FF2B5EF4-FFF2-40B4-BE49-F238E27FC236}">
                <a16:creationId xmlns:a16="http://schemas.microsoft.com/office/drawing/2014/main" id="{56CAF3D2-5934-1881-3837-AD3A8F8447B8}"/>
              </a:ext>
              <a:ext uri="{C183D7F6-B498-43B3-948B-1728B52AA6E4}">
                <adec:decorative xmlns:adec="http://schemas.microsoft.com/office/drawing/2017/decorative" val="1"/>
              </a:ext>
            </a:extLst>
          </p:cNvPr>
          <p:cNvCxnSpPr>
            <a:cxnSpLocks/>
            <a:stCxn id="62" idx="4"/>
          </p:cNvCxnSpPr>
          <p:nvPr/>
        </p:nvCxnSpPr>
        <p:spPr>
          <a:xfrm>
            <a:off x="2530207" y="2481262"/>
            <a:ext cx="7397" cy="487849"/>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128" name="Graphic 10">
            <a:extLst>
              <a:ext uri="{FF2B5EF4-FFF2-40B4-BE49-F238E27FC236}">
                <a16:creationId xmlns:a16="http://schemas.microsoft.com/office/drawing/2014/main" id="{EC1E54CA-1864-2E64-433A-A7140E43E096}"/>
              </a:ext>
              <a:ext uri="{C183D7F6-B498-43B3-948B-1728B52AA6E4}">
                <adec:decorative xmlns:adec="http://schemas.microsoft.com/office/drawing/2017/decorative" val="1"/>
              </a:ext>
            </a:extLst>
          </p:cNvPr>
          <p:cNvGrpSpPr/>
          <p:nvPr/>
        </p:nvGrpSpPr>
        <p:grpSpPr>
          <a:xfrm>
            <a:off x="5717115" y="2650575"/>
            <a:ext cx="200727" cy="230280"/>
            <a:chOff x="4807186" y="1430349"/>
            <a:chExt cx="228146" cy="277996"/>
          </a:xfrm>
          <a:solidFill>
            <a:schemeClr val="accent5"/>
          </a:solidFill>
        </p:grpSpPr>
        <p:sp>
          <p:nvSpPr>
            <p:cNvPr id="134" name="Freeform: Shape 133">
              <a:extLst>
                <a:ext uri="{FF2B5EF4-FFF2-40B4-BE49-F238E27FC236}">
                  <a16:creationId xmlns:a16="http://schemas.microsoft.com/office/drawing/2014/main" id="{4269F8E0-3658-84F9-F9FF-809348C6BFDE}"/>
                </a:ext>
              </a:extLst>
            </p:cNvPr>
            <p:cNvSpPr/>
            <p:nvPr/>
          </p:nvSpPr>
          <p:spPr>
            <a:xfrm>
              <a:off x="4897988" y="1539288"/>
              <a:ext cx="87494" cy="10266"/>
            </a:xfrm>
            <a:custGeom>
              <a:avLst/>
              <a:gdLst>
                <a:gd name="connsiteX0" fmla="*/ 0 w 87494"/>
                <a:gd name="connsiteY0" fmla="*/ 5133 h 10266"/>
                <a:gd name="connsiteX1" fmla="*/ 4905 w 87494"/>
                <a:gd name="connsiteY1" fmla="*/ 10267 h 10266"/>
                <a:gd name="connsiteX2" fmla="*/ 82589 w 87494"/>
                <a:gd name="connsiteY2" fmla="*/ 10267 h 10266"/>
                <a:gd name="connsiteX3" fmla="*/ 87494 w 87494"/>
                <a:gd name="connsiteY3" fmla="*/ 5133 h 10266"/>
                <a:gd name="connsiteX4" fmla="*/ 82589 w 87494"/>
                <a:gd name="connsiteY4" fmla="*/ 0 h 10266"/>
                <a:gd name="connsiteX5" fmla="*/ 4905 w 87494"/>
                <a:gd name="connsiteY5" fmla="*/ 0 h 10266"/>
                <a:gd name="connsiteX6" fmla="*/ 0 w 87494"/>
                <a:gd name="connsiteY6" fmla="*/ 5133 h 1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4" h="10266">
                  <a:moveTo>
                    <a:pt x="0" y="5133"/>
                  </a:moveTo>
                  <a:cubicBezTo>
                    <a:pt x="0" y="6844"/>
                    <a:pt x="3308" y="10267"/>
                    <a:pt x="4905" y="10267"/>
                  </a:cubicBezTo>
                  <a:lnTo>
                    <a:pt x="82589" y="10267"/>
                  </a:lnTo>
                  <a:cubicBezTo>
                    <a:pt x="85897" y="10267"/>
                    <a:pt x="87494" y="6844"/>
                    <a:pt x="87494" y="5133"/>
                  </a:cubicBezTo>
                  <a:cubicBezTo>
                    <a:pt x="87494" y="1711"/>
                    <a:pt x="85897" y="0"/>
                    <a:pt x="82589" y="0"/>
                  </a:cubicBezTo>
                  <a:lnTo>
                    <a:pt x="4905" y="0"/>
                  </a:lnTo>
                  <a:cubicBezTo>
                    <a:pt x="3308" y="0"/>
                    <a:pt x="0" y="1711"/>
                    <a:pt x="0" y="5133"/>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5" name="Freeform: Shape 134">
              <a:extLst>
                <a:ext uri="{FF2B5EF4-FFF2-40B4-BE49-F238E27FC236}">
                  <a16:creationId xmlns:a16="http://schemas.microsoft.com/office/drawing/2014/main" id="{40C60892-1E77-7D63-4EF2-57A97F39A5B9}"/>
                </a:ext>
              </a:extLst>
            </p:cNvPr>
            <p:cNvSpPr/>
            <p:nvPr/>
          </p:nvSpPr>
          <p:spPr>
            <a:xfrm>
              <a:off x="4898103" y="1592218"/>
              <a:ext cx="87493" cy="10266"/>
            </a:xfrm>
            <a:custGeom>
              <a:avLst/>
              <a:gdLst>
                <a:gd name="connsiteX0" fmla="*/ 82589 w 87493"/>
                <a:gd name="connsiteY0" fmla="*/ 0 h 10266"/>
                <a:gd name="connsiteX1" fmla="*/ 4905 w 87493"/>
                <a:gd name="connsiteY1" fmla="*/ 0 h 10266"/>
                <a:gd name="connsiteX2" fmla="*/ 0 w 87493"/>
                <a:gd name="connsiteY2" fmla="*/ 5133 h 10266"/>
                <a:gd name="connsiteX3" fmla="*/ 4905 w 87493"/>
                <a:gd name="connsiteY3" fmla="*/ 10267 h 10266"/>
                <a:gd name="connsiteX4" fmla="*/ 82589 w 87493"/>
                <a:gd name="connsiteY4" fmla="*/ 10267 h 10266"/>
                <a:gd name="connsiteX5" fmla="*/ 87494 w 87493"/>
                <a:gd name="connsiteY5" fmla="*/ 5133 h 10266"/>
                <a:gd name="connsiteX6" fmla="*/ 82589 w 87493"/>
                <a:gd name="connsiteY6" fmla="*/ 0 h 1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3" h="10266">
                  <a:moveTo>
                    <a:pt x="82589" y="0"/>
                  </a:moveTo>
                  <a:lnTo>
                    <a:pt x="4905" y="0"/>
                  </a:lnTo>
                  <a:cubicBezTo>
                    <a:pt x="3308" y="0"/>
                    <a:pt x="0" y="1711"/>
                    <a:pt x="0" y="5133"/>
                  </a:cubicBezTo>
                  <a:cubicBezTo>
                    <a:pt x="0" y="8555"/>
                    <a:pt x="3308" y="10267"/>
                    <a:pt x="4905" y="10267"/>
                  </a:cubicBezTo>
                  <a:lnTo>
                    <a:pt x="82589" y="10267"/>
                  </a:lnTo>
                  <a:cubicBezTo>
                    <a:pt x="85897" y="10267"/>
                    <a:pt x="87494" y="8555"/>
                    <a:pt x="87494" y="5133"/>
                  </a:cubicBezTo>
                  <a:cubicBezTo>
                    <a:pt x="87494" y="1711"/>
                    <a:pt x="85897" y="0"/>
                    <a:pt x="82589" y="0"/>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6" name="Freeform: Shape 135">
              <a:extLst>
                <a:ext uri="{FF2B5EF4-FFF2-40B4-BE49-F238E27FC236}">
                  <a16:creationId xmlns:a16="http://schemas.microsoft.com/office/drawing/2014/main" id="{090954B8-8065-C10A-0687-69C0FAB6D9D4}"/>
                </a:ext>
              </a:extLst>
            </p:cNvPr>
            <p:cNvSpPr/>
            <p:nvPr/>
          </p:nvSpPr>
          <p:spPr>
            <a:xfrm>
              <a:off x="4898103" y="1645947"/>
              <a:ext cx="87493" cy="9582"/>
            </a:xfrm>
            <a:custGeom>
              <a:avLst/>
              <a:gdLst>
                <a:gd name="connsiteX0" fmla="*/ 82589 w 87493"/>
                <a:gd name="connsiteY0" fmla="*/ 0 h 9582"/>
                <a:gd name="connsiteX1" fmla="*/ 4905 w 87493"/>
                <a:gd name="connsiteY1" fmla="*/ 0 h 9582"/>
                <a:gd name="connsiteX2" fmla="*/ 0 w 87493"/>
                <a:gd name="connsiteY2" fmla="*/ 4791 h 9582"/>
                <a:gd name="connsiteX3" fmla="*/ 4905 w 87493"/>
                <a:gd name="connsiteY3" fmla="*/ 9582 h 9582"/>
                <a:gd name="connsiteX4" fmla="*/ 82589 w 87493"/>
                <a:gd name="connsiteY4" fmla="*/ 9582 h 9582"/>
                <a:gd name="connsiteX5" fmla="*/ 87494 w 87493"/>
                <a:gd name="connsiteY5" fmla="*/ 4791 h 9582"/>
                <a:gd name="connsiteX6" fmla="*/ 82589 w 87493"/>
                <a:gd name="connsiteY6" fmla="*/ 0 h 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93" h="9582">
                  <a:moveTo>
                    <a:pt x="82589" y="0"/>
                  </a:moveTo>
                  <a:lnTo>
                    <a:pt x="4905" y="0"/>
                  </a:lnTo>
                  <a:cubicBezTo>
                    <a:pt x="3308" y="0"/>
                    <a:pt x="0" y="3194"/>
                    <a:pt x="0" y="4791"/>
                  </a:cubicBezTo>
                  <a:cubicBezTo>
                    <a:pt x="0" y="7985"/>
                    <a:pt x="3308" y="9582"/>
                    <a:pt x="4905" y="9582"/>
                  </a:cubicBezTo>
                  <a:lnTo>
                    <a:pt x="82589" y="9582"/>
                  </a:lnTo>
                  <a:cubicBezTo>
                    <a:pt x="85897" y="9582"/>
                    <a:pt x="87494" y="7985"/>
                    <a:pt x="87494" y="4791"/>
                  </a:cubicBezTo>
                  <a:cubicBezTo>
                    <a:pt x="87494" y="3194"/>
                    <a:pt x="85897" y="0"/>
                    <a:pt x="82589" y="0"/>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7" name="Freeform: Shape 136">
              <a:extLst>
                <a:ext uri="{FF2B5EF4-FFF2-40B4-BE49-F238E27FC236}">
                  <a16:creationId xmlns:a16="http://schemas.microsoft.com/office/drawing/2014/main" id="{4F0E47E2-0B2B-8A7A-A542-289DC5F8EFC9}"/>
                </a:ext>
              </a:extLst>
            </p:cNvPr>
            <p:cNvSpPr/>
            <p:nvPr/>
          </p:nvSpPr>
          <p:spPr>
            <a:xfrm>
              <a:off x="4807186" y="1430349"/>
              <a:ext cx="228146" cy="277996"/>
            </a:xfrm>
            <a:custGeom>
              <a:avLst/>
              <a:gdLst>
                <a:gd name="connsiteX0" fmla="*/ 163695 w 228146"/>
                <a:gd name="connsiteY0" fmla="*/ 0 h 277996"/>
                <a:gd name="connsiteX1" fmla="*/ 24754 w 228146"/>
                <a:gd name="connsiteY1" fmla="*/ 0 h 277996"/>
                <a:gd name="connsiteX2" fmla="*/ 0 w 228146"/>
                <a:gd name="connsiteY2" fmla="*/ 23157 h 277996"/>
                <a:gd name="connsiteX3" fmla="*/ 0 w 228146"/>
                <a:gd name="connsiteY3" fmla="*/ 254839 h 277996"/>
                <a:gd name="connsiteX4" fmla="*/ 24754 w 228146"/>
                <a:gd name="connsiteY4" fmla="*/ 277996 h 277996"/>
                <a:gd name="connsiteX5" fmla="*/ 203392 w 228146"/>
                <a:gd name="connsiteY5" fmla="*/ 277996 h 277996"/>
                <a:gd name="connsiteX6" fmla="*/ 228146 w 228146"/>
                <a:gd name="connsiteY6" fmla="*/ 254839 h 277996"/>
                <a:gd name="connsiteX7" fmla="*/ 228146 w 228146"/>
                <a:gd name="connsiteY7" fmla="*/ 69470 h 277996"/>
                <a:gd name="connsiteX8" fmla="*/ 163695 w 228146"/>
                <a:gd name="connsiteY8" fmla="*/ 0 h 277996"/>
                <a:gd name="connsiteX9" fmla="*/ 216625 w 228146"/>
                <a:gd name="connsiteY9" fmla="*/ 254839 h 277996"/>
                <a:gd name="connsiteX10" fmla="*/ 203392 w 228146"/>
                <a:gd name="connsiteY10" fmla="*/ 268072 h 277996"/>
                <a:gd name="connsiteX11" fmla="*/ 24754 w 228146"/>
                <a:gd name="connsiteY11" fmla="*/ 268072 h 277996"/>
                <a:gd name="connsiteX12" fmla="*/ 9924 w 228146"/>
                <a:gd name="connsiteY12" fmla="*/ 254839 h 277996"/>
                <a:gd name="connsiteX13" fmla="*/ 9924 w 228146"/>
                <a:gd name="connsiteY13" fmla="*/ 23157 h 277996"/>
                <a:gd name="connsiteX14" fmla="*/ 24754 w 228146"/>
                <a:gd name="connsiteY14" fmla="*/ 9924 h 277996"/>
                <a:gd name="connsiteX15" fmla="*/ 140538 w 228146"/>
                <a:gd name="connsiteY15" fmla="*/ 9924 h 277996"/>
                <a:gd name="connsiteX16" fmla="*/ 140538 w 228146"/>
                <a:gd name="connsiteY16" fmla="*/ 74490 h 277996"/>
                <a:gd name="connsiteX17" fmla="*/ 152059 w 228146"/>
                <a:gd name="connsiteY17" fmla="*/ 86125 h 277996"/>
                <a:gd name="connsiteX18" fmla="*/ 216511 w 228146"/>
                <a:gd name="connsiteY18" fmla="*/ 86125 h 277996"/>
                <a:gd name="connsiteX19" fmla="*/ 216511 w 228146"/>
                <a:gd name="connsiteY19" fmla="*/ 254953 h 277996"/>
                <a:gd name="connsiteX20" fmla="*/ 150462 w 228146"/>
                <a:gd name="connsiteY20" fmla="*/ 76087 h 277996"/>
                <a:gd name="connsiteX21" fmla="*/ 150462 w 228146"/>
                <a:gd name="connsiteY21" fmla="*/ 9924 h 277996"/>
                <a:gd name="connsiteX22" fmla="*/ 158676 w 228146"/>
                <a:gd name="connsiteY22" fmla="*/ 9924 h 277996"/>
                <a:gd name="connsiteX23" fmla="*/ 218222 w 228146"/>
                <a:gd name="connsiteY23" fmla="*/ 76087 h 277996"/>
                <a:gd name="connsiteX24" fmla="*/ 150462 w 228146"/>
                <a:gd name="connsiteY24" fmla="*/ 76087 h 27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146" h="277996">
                  <a:moveTo>
                    <a:pt x="163695" y="0"/>
                  </a:moveTo>
                  <a:lnTo>
                    <a:pt x="24754" y="0"/>
                  </a:lnTo>
                  <a:cubicBezTo>
                    <a:pt x="11521" y="0"/>
                    <a:pt x="0" y="9924"/>
                    <a:pt x="0" y="23157"/>
                  </a:cubicBezTo>
                  <a:lnTo>
                    <a:pt x="0" y="254839"/>
                  </a:lnTo>
                  <a:cubicBezTo>
                    <a:pt x="0" y="268072"/>
                    <a:pt x="11521" y="277996"/>
                    <a:pt x="24754" y="277996"/>
                  </a:cubicBezTo>
                  <a:lnTo>
                    <a:pt x="203392" y="277996"/>
                  </a:lnTo>
                  <a:cubicBezTo>
                    <a:pt x="216625" y="277996"/>
                    <a:pt x="228146" y="268072"/>
                    <a:pt x="228146" y="254839"/>
                  </a:cubicBezTo>
                  <a:lnTo>
                    <a:pt x="228146" y="69470"/>
                  </a:lnTo>
                  <a:lnTo>
                    <a:pt x="163695" y="0"/>
                  </a:lnTo>
                  <a:close/>
                  <a:moveTo>
                    <a:pt x="216625" y="254839"/>
                  </a:moveTo>
                  <a:cubicBezTo>
                    <a:pt x="216625" y="261456"/>
                    <a:pt x="211720" y="268072"/>
                    <a:pt x="203392" y="268072"/>
                  </a:cubicBezTo>
                  <a:lnTo>
                    <a:pt x="24754" y="268072"/>
                  </a:lnTo>
                  <a:cubicBezTo>
                    <a:pt x="16541" y="268072"/>
                    <a:pt x="9924" y="261456"/>
                    <a:pt x="9924" y="254839"/>
                  </a:cubicBezTo>
                  <a:lnTo>
                    <a:pt x="9924" y="23157"/>
                  </a:lnTo>
                  <a:cubicBezTo>
                    <a:pt x="9924" y="16541"/>
                    <a:pt x="16541" y="9924"/>
                    <a:pt x="24754" y="9924"/>
                  </a:cubicBezTo>
                  <a:lnTo>
                    <a:pt x="140538" y="9924"/>
                  </a:lnTo>
                  <a:lnTo>
                    <a:pt x="140538" y="74490"/>
                  </a:lnTo>
                  <a:cubicBezTo>
                    <a:pt x="140538" y="81106"/>
                    <a:pt x="145443" y="86125"/>
                    <a:pt x="152059" y="86125"/>
                  </a:cubicBezTo>
                  <a:lnTo>
                    <a:pt x="216511" y="86125"/>
                  </a:lnTo>
                  <a:lnTo>
                    <a:pt x="216511" y="254953"/>
                  </a:lnTo>
                  <a:close/>
                  <a:moveTo>
                    <a:pt x="150462" y="76087"/>
                  </a:moveTo>
                  <a:lnTo>
                    <a:pt x="150462" y="9924"/>
                  </a:lnTo>
                  <a:lnTo>
                    <a:pt x="158676" y="9924"/>
                  </a:lnTo>
                  <a:lnTo>
                    <a:pt x="218222" y="76087"/>
                  </a:lnTo>
                  <a:lnTo>
                    <a:pt x="150462" y="76087"/>
                  </a:ln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8" name="Freeform: Shape 137">
              <a:extLst>
                <a:ext uri="{FF2B5EF4-FFF2-40B4-BE49-F238E27FC236}">
                  <a16:creationId xmlns:a16="http://schemas.microsoft.com/office/drawing/2014/main" id="{A7737AD7-F417-C4CA-F312-D850637F3C34}"/>
                </a:ext>
              </a:extLst>
            </p:cNvPr>
            <p:cNvSpPr/>
            <p:nvPr/>
          </p:nvSpPr>
          <p:spPr>
            <a:xfrm>
              <a:off x="4842520" y="1525035"/>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1"/>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39" name="Freeform: Shape 138">
              <a:extLst>
                <a:ext uri="{FF2B5EF4-FFF2-40B4-BE49-F238E27FC236}">
                  <a16:creationId xmlns:a16="http://schemas.microsoft.com/office/drawing/2014/main" id="{8C5B5F81-B6FB-1BC8-A5E9-118D8B9A4BBB}"/>
                </a:ext>
              </a:extLst>
            </p:cNvPr>
            <p:cNvSpPr/>
            <p:nvPr/>
          </p:nvSpPr>
          <p:spPr>
            <a:xfrm>
              <a:off x="4842520" y="1577851"/>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2"/>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sp>
          <p:nvSpPr>
            <p:cNvPr id="140" name="Freeform: Shape 139">
              <a:extLst>
                <a:ext uri="{FF2B5EF4-FFF2-40B4-BE49-F238E27FC236}">
                  <a16:creationId xmlns:a16="http://schemas.microsoft.com/office/drawing/2014/main" id="{94AE6549-A424-8935-F884-05E3D0F5233A}"/>
                </a:ext>
              </a:extLst>
            </p:cNvPr>
            <p:cNvSpPr/>
            <p:nvPr/>
          </p:nvSpPr>
          <p:spPr>
            <a:xfrm>
              <a:off x="4842520" y="1631009"/>
              <a:ext cx="45376" cy="28854"/>
            </a:xfrm>
            <a:custGeom>
              <a:avLst/>
              <a:gdLst>
                <a:gd name="connsiteX0" fmla="*/ 38243 w 45376"/>
                <a:gd name="connsiteY0" fmla="*/ 907 h 28854"/>
                <a:gd name="connsiteX1" fmla="*/ 16341 w 45376"/>
                <a:gd name="connsiteY1" fmla="*/ 18816 h 28854"/>
                <a:gd name="connsiteX2" fmla="*/ 7329 w 45376"/>
                <a:gd name="connsiteY2" fmla="*/ 9690 h 28854"/>
                <a:gd name="connsiteX3" fmla="*/ 1283 w 45376"/>
                <a:gd name="connsiteY3" fmla="*/ 9690 h 28854"/>
                <a:gd name="connsiteX4" fmla="*/ 1283 w 45376"/>
                <a:gd name="connsiteY4" fmla="*/ 15736 h 28854"/>
                <a:gd name="connsiteX5" fmla="*/ 13033 w 45376"/>
                <a:gd name="connsiteY5" fmla="*/ 27600 h 28854"/>
                <a:gd name="connsiteX6" fmla="*/ 16113 w 45376"/>
                <a:gd name="connsiteY6" fmla="*/ 28855 h 28854"/>
                <a:gd name="connsiteX7" fmla="*/ 18851 w 45376"/>
                <a:gd name="connsiteY7" fmla="*/ 27942 h 28854"/>
                <a:gd name="connsiteX8" fmla="*/ 43833 w 45376"/>
                <a:gd name="connsiteY8" fmla="*/ 7637 h 28854"/>
                <a:gd name="connsiteX9" fmla="*/ 44403 w 45376"/>
                <a:gd name="connsiteY9" fmla="*/ 1591 h 28854"/>
                <a:gd name="connsiteX10" fmla="*/ 38357 w 45376"/>
                <a:gd name="connsiteY10" fmla="*/ 1021 h 2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76" h="28854">
                  <a:moveTo>
                    <a:pt x="38243" y="907"/>
                  </a:moveTo>
                  <a:lnTo>
                    <a:pt x="16341" y="18816"/>
                  </a:lnTo>
                  <a:lnTo>
                    <a:pt x="7329" y="9690"/>
                  </a:lnTo>
                  <a:cubicBezTo>
                    <a:pt x="5618" y="7979"/>
                    <a:pt x="2994" y="7979"/>
                    <a:pt x="1283" y="9690"/>
                  </a:cubicBezTo>
                  <a:cubicBezTo>
                    <a:pt x="-428" y="11401"/>
                    <a:pt x="-428" y="14025"/>
                    <a:pt x="1283" y="15736"/>
                  </a:cubicBezTo>
                  <a:lnTo>
                    <a:pt x="13033" y="27600"/>
                  </a:lnTo>
                  <a:cubicBezTo>
                    <a:pt x="13831" y="28398"/>
                    <a:pt x="14972" y="28855"/>
                    <a:pt x="16113" y="28855"/>
                  </a:cubicBezTo>
                  <a:cubicBezTo>
                    <a:pt x="17025" y="28855"/>
                    <a:pt x="18052" y="28512"/>
                    <a:pt x="18851" y="27942"/>
                  </a:cubicBezTo>
                  <a:lnTo>
                    <a:pt x="43833" y="7637"/>
                  </a:lnTo>
                  <a:cubicBezTo>
                    <a:pt x="45658" y="6154"/>
                    <a:pt x="45886" y="3416"/>
                    <a:pt x="44403" y="1591"/>
                  </a:cubicBezTo>
                  <a:cubicBezTo>
                    <a:pt x="42920" y="-234"/>
                    <a:pt x="40182" y="-576"/>
                    <a:pt x="38357" y="1021"/>
                  </a:cubicBezTo>
                  <a:close/>
                </a:path>
              </a:pathLst>
            </a:custGeom>
            <a:grpFill/>
            <a:ln w="11403" cap="flat">
              <a:noFill/>
              <a:prstDash val="solid"/>
              <a:miter/>
            </a:ln>
          </p:spPr>
          <p:txBody>
            <a:bodyPr rtlCol="0" anchor="ctr"/>
            <a:lstStyle/>
            <a:p>
              <a:pPr defTabSz="466522"/>
              <a:endParaRPr lang="en-AU" sz="1000">
                <a:solidFill>
                  <a:prstClr val="black"/>
                </a:solidFill>
              </a:endParaRPr>
            </a:p>
          </p:txBody>
        </p:sp>
      </p:grpSp>
      <p:sp>
        <p:nvSpPr>
          <p:cNvPr id="129" name="Freeform: Shape 128">
            <a:extLst>
              <a:ext uri="{FF2B5EF4-FFF2-40B4-BE49-F238E27FC236}">
                <a16:creationId xmlns:a16="http://schemas.microsoft.com/office/drawing/2014/main" id="{F3DE3F38-BC72-A0A7-810F-27E92F55DF07}"/>
              </a:ext>
              <a:ext uri="{C183D7F6-B498-43B3-948B-1728B52AA6E4}">
                <adec:decorative xmlns:adec="http://schemas.microsoft.com/office/drawing/2017/decorative" val="1"/>
              </a:ext>
            </a:extLst>
          </p:cNvPr>
          <p:cNvSpPr/>
          <p:nvPr/>
        </p:nvSpPr>
        <p:spPr>
          <a:xfrm rot="8100000">
            <a:off x="3199476" y="2330350"/>
            <a:ext cx="93570" cy="88099"/>
          </a:xfrm>
          <a:custGeom>
            <a:avLst/>
            <a:gdLst>
              <a:gd name="connsiteX0" fmla="*/ 118533 w 118533"/>
              <a:gd name="connsiteY0" fmla="*/ 0 h 93133"/>
              <a:gd name="connsiteX1" fmla="*/ 0 w 118533"/>
              <a:gd name="connsiteY1" fmla="*/ 0 h 93133"/>
              <a:gd name="connsiteX2" fmla="*/ 0 w 118533"/>
              <a:gd name="connsiteY2" fmla="*/ 93133 h 93133"/>
            </a:gdLst>
            <a:ahLst/>
            <a:cxnLst>
              <a:cxn ang="0">
                <a:pos x="connsiteX0" y="connsiteY0"/>
              </a:cxn>
              <a:cxn ang="0">
                <a:pos x="connsiteX1" y="connsiteY1"/>
              </a:cxn>
              <a:cxn ang="0">
                <a:pos x="connsiteX2" y="connsiteY2"/>
              </a:cxn>
            </a:cxnLst>
            <a:rect l="l" t="t" r="r" b="b"/>
            <a:pathLst>
              <a:path w="118533" h="93133">
                <a:moveTo>
                  <a:pt x="118533" y="0"/>
                </a:moveTo>
                <a:lnTo>
                  <a:pt x="0" y="0"/>
                </a:lnTo>
                <a:lnTo>
                  <a:pt x="0" y="93133"/>
                </a:lnTo>
              </a:path>
            </a:pathLst>
          </a:custGeom>
          <a:noFill/>
          <a:ln cap="rnd">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sp>
        <p:nvSpPr>
          <p:cNvPr id="130" name="Oval 129">
            <a:extLst>
              <a:ext uri="{FF2B5EF4-FFF2-40B4-BE49-F238E27FC236}">
                <a16:creationId xmlns:a16="http://schemas.microsoft.com/office/drawing/2014/main" id="{BA94B089-70AD-6E59-A718-A1E613E1E144}"/>
              </a:ext>
              <a:ext uri="{C183D7F6-B498-43B3-948B-1728B52AA6E4}">
                <adec:decorative xmlns:adec="http://schemas.microsoft.com/office/drawing/2017/decorative" val="1"/>
              </a:ext>
            </a:extLst>
          </p:cNvPr>
          <p:cNvSpPr/>
          <p:nvPr/>
        </p:nvSpPr>
        <p:spPr>
          <a:xfrm>
            <a:off x="5504642"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3</a:t>
            </a:r>
          </a:p>
        </p:txBody>
      </p:sp>
      <p:sp>
        <p:nvSpPr>
          <p:cNvPr id="131" name="Oval 130">
            <a:extLst>
              <a:ext uri="{FF2B5EF4-FFF2-40B4-BE49-F238E27FC236}">
                <a16:creationId xmlns:a16="http://schemas.microsoft.com/office/drawing/2014/main" id="{EECDCD9C-B8A0-8677-864F-913158833480}"/>
              </a:ext>
              <a:ext uri="{C183D7F6-B498-43B3-948B-1728B52AA6E4}">
                <adec:decorative xmlns:adec="http://schemas.microsoft.com/office/drawing/2017/decorative" val="1"/>
              </a:ext>
            </a:extLst>
          </p:cNvPr>
          <p:cNvSpPr/>
          <p:nvPr/>
        </p:nvSpPr>
        <p:spPr>
          <a:xfrm>
            <a:off x="6738132"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4</a:t>
            </a:r>
          </a:p>
        </p:txBody>
      </p:sp>
      <p:sp>
        <p:nvSpPr>
          <p:cNvPr id="132" name="Oval 131">
            <a:extLst>
              <a:ext uri="{FF2B5EF4-FFF2-40B4-BE49-F238E27FC236}">
                <a16:creationId xmlns:a16="http://schemas.microsoft.com/office/drawing/2014/main" id="{5B9EE414-C2CC-214E-E226-1855A166EAAE}"/>
              </a:ext>
              <a:ext uri="{C183D7F6-B498-43B3-948B-1728B52AA6E4}">
                <adec:decorative xmlns:adec="http://schemas.microsoft.com/office/drawing/2017/decorative" val="1"/>
              </a:ext>
            </a:extLst>
          </p:cNvPr>
          <p:cNvSpPr/>
          <p:nvPr/>
        </p:nvSpPr>
        <p:spPr>
          <a:xfrm>
            <a:off x="7978607" y="2263964"/>
            <a:ext cx="217298" cy="217298"/>
          </a:xfrm>
          <a:prstGeom prst="ellipse">
            <a:avLst/>
          </a:prstGeom>
          <a:solidFill>
            <a:schemeClr val="accent4"/>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accent6"/>
                </a:solidFill>
              </a:rPr>
              <a:t>5</a:t>
            </a:r>
          </a:p>
        </p:txBody>
      </p:sp>
      <p:sp>
        <p:nvSpPr>
          <p:cNvPr id="133" name="Freeform 103">
            <a:extLst>
              <a:ext uri="{FF2B5EF4-FFF2-40B4-BE49-F238E27FC236}">
                <a16:creationId xmlns:a16="http://schemas.microsoft.com/office/drawing/2014/main" id="{3933B5B1-59B4-08A5-C133-45893C592026}"/>
              </a:ext>
              <a:ext uri="{C183D7F6-B498-43B3-948B-1728B52AA6E4}">
                <adec:decorative xmlns:adec="http://schemas.microsoft.com/office/drawing/2017/decorative" val="1"/>
              </a:ext>
            </a:extLst>
          </p:cNvPr>
          <p:cNvSpPr>
            <a:spLocks noChangeAspect="1" noEditPoints="1"/>
          </p:cNvSpPr>
          <p:nvPr/>
        </p:nvSpPr>
        <p:spPr bwMode="auto">
          <a:xfrm>
            <a:off x="8168425" y="2641523"/>
            <a:ext cx="226066" cy="226066"/>
          </a:xfrm>
          <a:custGeom>
            <a:avLst/>
            <a:gdLst>
              <a:gd name="T0" fmla="*/ 168 w 169"/>
              <a:gd name="T1" fmla="*/ 164 h 169"/>
              <a:gd name="T2" fmla="*/ 127 w 169"/>
              <a:gd name="T3" fmla="*/ 122 h 169"/>
              <a:gd name="T4" fmla="*/ 127 w 169"/>
              <a:gd name="T5" fmla="*/ 122 h 169"/>
              <a:gd name="T6" fmla="*/ 146 w 169"/>
              <a:gd name="T7" fmla="*/ 73 h 169"/>
              <a:gd name="T8" fmla="*/ 73 w 169"/>
              <a:gd name="T9" fmla="*/ 0 h 169"/>
              <a:gd name="T10" fmla="*/ 0 w 169"/>
              <a:gd name="T11" fmla="*/ 73 h 169"/>
              <a:gd name="T12" fmla="*/ 73 w 169"/>
              <a:gd name="T13" fmla="*/ 146 h 169"/>
              <a:gd name="T14" fmla="*/ 122 w 169"/>
              <a:gd name="T15" fmla="*/ 128 h 169"/>
              <a:gd name="T16" fmla="*/ 122 w 169"/>
              <a:gd name="T17" fmla="*/ 127 h 169"/>
              <a:gd name="T18" fmla="*/ 122 w 169"/>
              <a:gd name="T19" fmla="*/ 128 h 169"/>
              <a:gd name="T20" fmla="*/ 163 w 169"/>
              <a:gd name="T21" fmla="*/ 168 h 169"/>
              <a:gd name="T22" fmla="*/ 166 w 169"/>
              <a:gd name="T23" fmla="*/ 169 h 169"/>
              <a:gd name="T24" fmla="*/ 169 w 169"/>
              <a:gd name="T25" fmla="*/ 166 h 169"/>
              <a:gd name="T26" fmla="*/ 168 w 169"/>
              <a:gd name="T27" fmla="*/ 164 h 169"/>
              <a:gd name="T28" fmla="*/ 73 w 169"/>
              <a:gd name="T29" fmla="*/ 140 h 169"/>
              <a:gd name="T30" fmla="*/ 7 w 169"/>
              <a:gd name="T31" fmla="*/ 73 h 169"/>
              <a:gd name="T32" fmla="*/ 73 w 169"/>
              <a:gd name="T33" fmla="*/ 7 h 169"/>
              <a:gd name="T34" fmla="*/ 139 w 169"/>
              <a:gd name="T35" fmla="*/ 73 h 169"/>
              <a:gd name="T36" fmla="*/ 73 w 169"/>
              <a:gd name="T37" fmla="*/ 14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8" y="164"/>
                </a:moveTo>
                <a:cubicBezTo>
                  <a:pt x="127" y="122"/>
                  <a:pt x="127" y="122"/>
                  <a:pt x="127" y="122"/>
                </a:cubicBezTo>
                <a:cubicBezTo>
                  <a:pt x="127" y="122"/>
                  <a:pt x="127" y="122"/>
                  <a:pt x="127" y="122"/>
                </a:cubicBezTo>
                <a:cubicBezTo>
                  <a:pt x="139" y="109"/>
                  <a:pt x="146" y="91"/>
                  <a:pt x="146" y="73"/>
                </a:cubicBezTo>
                <a:cubicBezTo>
                  <a:pt x="146" y="33"/>
                  <a:pt x="113" y="0"/>
                  <a:pt x="73" y="0"/>
                </a:cubicBezTo>
                <a:cubicBezTo>
                  <a:pt x="33" y="0"/>
                  <a:pt x="0" y="33"/>
                  <a:pt x="0" y="73"/>
                </a:cubicBezTo>
                <a:cubicBezTo>
                  <a:pt x="0" y="114"/>
                  <a:pt x="33" y="146"/>
                  <a:pt x="73" y="146"/>
                </a:cubicBezTo>
                <a:cubicBezTo>
                  <a:pt x="91" y="146"/>
                  <a:pt x="108" y="140"/>
                  <a:pt x="122" y="128"/>
                </a:cubicBezTo>
                <a:cubicBezTo>
                  <a:pt x="122" y="127"/>
                  <a:pt x="122" y="127"/>
                  <a:pt x="122" y="127"/>
                </a:cubicBezTo>
                <a:cubicBezTo>
                  <a:pt x="122" y="128"/>
                  <a:pt x="122" y="128"/>
                  <a:pt x="122" y="128"/>
                </a:cubicBezTo>
                <a:cubicBezTo>
                  <a:pt x="163" y="168"/>
                  <a:pt x="163" y="168"/>
                  <a:pt x="163" y="168"/>
                </a:cubicBezTo>
                <a:cubicBezTo>
                  <a:pt x="164" y="169"/>
                  <a:pt x="165" y="169"/>
                  <a:pt x="166" y="169"/>
                </a:cubicBezTo>
                <a:cubicBezTo>
                  <a:pt x="168" y="169"/>
                  <a:pt x="169" y="168"/>
                  <a:pt x="169" y="166"/>
                </a:cubicBezTo>
                <a:cubicBezTo>
                  <a:pt x="169" y="165"/>
                  <a:pt x="169" y="164"/>
                  <a:pt x="168" y="164"/>
                </a:cubicBezTo>
                <a:close/>
                <a:moveTo>
                  <a:pt x="73" y="140"/>
                </a:moveTo>
                <a:cubicBezTo>
                  <a:pt x="37" y="140"/>
                  <a:pt x="7" y="110"/>
                  <a:pt x="7" y="73"/>
                </a:cubicBezTo>
                <a:cubicBezTo>
                  <a:pt x="7" y="37"/>
                  <a:pt x="37" y="7"/>
                  <a:pt x="73" y="7"/>
                </a:cubicBezTo>
                <a:cubicBezTo>
                  <a:pt x="110" y="7"/>
                  <a:pt x="139" y="37"/>
                  <a:pt x="139" y="73"/>
                </a:cubicBezTo>
                <a:cubicBezTo>
                  <a:pt x="139" y="110"/>
                  <a:pt x="110" y="140"/>
                  <a:pt x="73" y="14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26" name="Group 25">
            <a:extLst>
              <a:ext uri="{FF2B5EF4-FFF2-40B4-BE49-F238E27FC236}">
                <a16:creationId xmlns:a16="http://schemas.microsoft.com/office/drawing/2014/main" id="{5D455A22-80D5-E14C-4F9F-70AD4E78DE70}"/>
              </a:ext>
              <a:ext uri="{C183D7F6-B498-43B3-948B-1728B52AA6E4}">
                <adec:decorative xmlns:adec="http://schemas.microsoft.com/office/drawing/2017/decorative" val="1"/>
              </a:ext>
            </a:extLst>
          </p:cNvPr>
          <p:cNvGrpSpPr>
            <a:grpSpLocks noChangeAspect="1"/>
          </p:cNvGrpSpPr>
          <p:nvPr/>
        </p:nvGrpSpPr>
        <p:grpSpPr>
          <a:xfrm>
            <a:off x="5777072" y="5733241"/>
            <a:ext cx="255116" cy="284620"/>
            <a:chOff x="6142038" y="3257550"/>
            <a:chExt cx="466725" cy="520701"/>
          </a:xfrm>
          <a:solidFill>
            <a:schemeClr val="accent3"/>
          </a:solidFill>
        </p:grpSpPr>
        <p:sp>
          <p:nvSpPr>
            <p:cNvPr id="27" name="Freeform 89">
              <a:extLst>
                <a:ext uri="{FF2B5EF4-FFF2-40B4-BE49-F238E27FC236}">
                  <a16:creationId xmlns:a16="http://schemas.microsoft.com/office/drawing/2014/main" id="{5BF96872-6753-F924-5C1C-7B5038E02896}"/>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90">
              <a:extLst>
                <a:ext uri="{FF2B5EF4-FFF2-40B4-BE49-F238E27FC236}">
                  <a16:creationId xmlns:a16="http://schemas.microsoft.com/office/drawing/2014/main" id="{AD1D4A4E-4FDA-6F5D-1443-EBADEDA50B15}"/>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91">
              <a:extLst>
                <a:ext uri="{FF2B5EF4-FFF2-40B4-BE49-F238E27FC236}">
                  <a16:creationId xmlns:a16="http://schemas.microsoft.com/office/drawing/2014/main" id="{4AE3C47E-F384-F493-0A2A-6369F3377B70}"/>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92">
              <a:extLst>
                <a:ext uri="{FF2B5EF4-FFF2-40B4-BE49-F238E27FC236}">
                  <a16:creationId xmlns:a16="http://schemas.microsoft.com/office/drawing/2014/main" id="{A78F7E79-9EDC-8AE8-B250-39CBC2E24EE4}"/>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93">
              <a:extLst>
                <a:ext uri="{FF2B5EF4-FFF2-40B4-BE49-F238E27FC236}">
                  <a16:creationId xmlns:a16="http://schemas.microsoft.com/office/drawing/2014/main" id="{3CB321D6-396F-479A-6E86-6BC330491E46}"/>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94">
              <a:extLst>
                <a:ext uri="{FF2B5EF4-FFF2-40B4-BE49-F238E27FC236}">
                  <a16:creationId xmlns:a16="http://schemas.microsoft.com/office/drawing/2014/main" id="{20A6034A-9953-FBB4-A422-188269D57E37}"/>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5">
              <a:extLst>
                <a:ext uri="{FF2B5EF4-FFF2-40B4-BE49-F238E27FC236}">
                  <a16:creationId xmlns:a16="http://schemas.microsoft.com/office/drawing/2014/main" id="{42EA1074-CAF4-647E-5937-1D519A4EDE6F}"/>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3" name="Freeform 96">
              <a:extLst>
                <a:ext uri="{FF2B5EF4-FFF2-40B4-BE49-F238E27FC236}">
                  <a16:creationId xmlns:a16="http://schemas.microsoft.com/office/drawing/2014/main" id="{9FBD05B0-4CA4-89AC-A46F-2BDA2D3039FF}"/>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4" name="Freeform 97">
              <a:extLst>
                <a:ext uri="{FF2B5EF4-FFF2-40B4-BE49-F238E27FC236}">
                  <a16:creationId xmlns:a16="http://schemas.microsoft.com/office/drawing/2014/main" id="{EFCD549D-88AA-1EFD-BAF2-E587A899C90A}"/>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1" name="Freeform 98">
              <a:extLst>
                <a:ext uri="{FF2B5EF4-FFF2-40B4-BE49-F238E27FC236}">
                  <a16:creationId xmlns:a16="http://schemas.microsoft.com/office/drawing/2014/main" id="{30921CF1-5D7D-5EE8-1AB7-A70C47480AAC}"/>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2" name="Straight Arrow Connector 171">
            <a:extLst>
              <a:ext uri="{FF2B5EF4-FFF2-40B4-BE49-F238E27FC236}">
                <a16:creationId xmlns:a16="http://schemas.microsoft.com/office/drawing/2014/main" id="{9414D7AD-98B8-CA4F-B933-40C5563F5233}"/>
              </a:ext>
              <a:ext uri="{C183D7F6-B498-43B3-948B-1728B52AA6E4}">
                <adec:decorative xmlns:adec="http://schemas.microsoft.com/office/drawing/2017/decorative" val="1"/>
              </a:ext>
            </a:extLst>
          </p:cNvPr>
          <p:cNvCxnSpPr>
            <a:cxnSpLocks/>
          </p:cNvCxnSpPr>
          <p:nvPr/>
        </p:nvCxnSpPr>
        <p:spPr>
          <a:xfrm flipH="1">
            <a:off x="5276583" y="6658589"/>
            <a:ext cx="471619" cy="0"/>
          </a:xfrm>
          <a:prstGeom prst="straightConnector1">
            <a:avLst/>
          </a:prstGeom>
          <a:ln>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387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Landscape" id="{438BF162-3764-4584-B0CD-9395A47D9DAF}" vid="{B4B9E902-DE2C-4414-A3CB-8DF8900CC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95502D-380B-4CB7-8B03-BD2E8C90A973}">
  <ds:schemaRefs>
    <ds:schemaRef ds:uri="http://schemas.microsoft.com/sharepoint/v3/contenttype/forms"/>
  </ds:schemaRefs>
</ds:datastoreItem>
</file>

<file path=customXml/itemProps2.xml><?xml version="1.0" encoding="utf-8"?>
<ds:datastoreItem xmlns:ds="http://schemas.openxmlformats.org/officeDocument/2006/customXml" ds:itemID="{946A44D6-8EE8-46A4-B93B-38D5021E5147}">
  <ds:schemaRefs>
    <ds:schemaRef ds:uri="http://purl.org/dc/elements/1.1/"/>
    <ds:schemaRef ds:uri="http://purl.org/dc/terms/"/>
    <ds:schemaRef ds:uri="http://schemas.microsoft.com/office/2006/metadata/properties"/>
    <ds:schemaRef ds:uri="http://schemas.microsoft.com/office/2006/documentManagement/types"/>
    <ds:schemaRef ds:uri="http://www.w3.org/XML/1998/namespace"/>
    <ds:schemaRef ds:uri="http://purl.org/dc/dcmitype/"/>
    <ds:schemaRef ds:uri="http://schemas.microsoft.com/office/infopath/2007/PartnerControls"/>
    <ds:schemaRef ds:uri="http://schemas.openxmlformats.org/package/2006/metadata/core-properties"/>
    <ds:schemaRef ds:uri="3dcb25b9-5e2a-4cbc-a1d6-f53ee7652e42"/>
  </ds:schemaRefs>
</ds:datastoreItem>
</file>

<file path=customXml/itemProps3.xml><?xml version="1.0" encoding="utf-8"?>
<ds:datastoreItem xmlns:ds="http://schemas.openxmlformats.org/officeDocument/2006/customXml" ds:itemID="{DF25CB49-B959-4C04-B0AE-FD9E1E895C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A4 Landscape</Template>
  <TotalTime>117</TotalTime>
  <Words>1256</Words>
  <Application>Microsoft Office PowerPoint</Application>
  <PresentationFormat>Custom</PresentationFormat>
  <Paragraphs>151</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Roboto</vt:lpstr>
      <vt:lpstr>Department of Transport and Planning</vt:lpstr>
      <vt:lpstr>think-cell Slide</vt:lpstr>
      <vt:lpstr>Conditions Discharge Flow</vt:lpstr>
      <vt:lpstr>Secondary Consent Assessment Service Flow</vt:lpstr>
      <vt:lpstr>Extension of Time Request Service Flow</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st permit actions service flows</dc:title>
  <dc:creator>Alannah Tran</dc:creator>
  <cp:lastModifiedBy>Alannah Tran</cp:lastModifiedBy>
  <cp:revision>6</cp:revision>
  <dcterms:created xsi:type="dcterms:W3CDTF">2023-07-18T01:32:32Z</dcterms:created>
  <dcterms:modified xsi:type="dcterms:W3CDTF">2023-07-31T01:2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6-08T00:52:44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36312799-0eca-438f-b5d5-b553404ec4a3</vt:lpwstr>
  </property>
  <property fmtid="{D5CDD505-2E9C-101B-9397-08002B2CF9AE}" pid="9" name="MSIP_Label_4257e2ab-f512-40e2-9c9a-c64247360765_ContentBits">
    <vt:lpwstr>2</vt:lpwstr>
  </property>
  <property fmtid="{D5CDD505-2E9C-101B-9397-08002B2CF9AE}" pid="10" name="MediaServiceImageTags">
    <vt:lpwstr/>
  </property>
</Properties>
</file>